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26"/>
  </p:notesMasterIdLst>
  <p:handoutMasterIdLst>
    <p:handoutMasterId r:id="rId27"/>
  </p:handoutMasterIdLst>
  <p:sldIdLst>
    <p:sldId id="16776363" r:id="rId10"/>
    <p:sldId id="16776362" r:id="rId11"/>
    <p:sldId id="16772958" r:id="rId12"/>
    <p:sldId id="16772959" r:id="rId13"/>
    <p:sldId id="16776357" r:id="rId14"/>
    <p:sldId id="16772949" r:id="rId15"/>
    <p:sldId id="16772973" r:id="rId16"/>
    <p:sldId id="16776351" r:id="rId17"/>
    <p:sldId id="16772938" r:id="rId18"/>
    <p:sldId id="16772941" r:id="rId19"/>
    <p:sldId id="16772942" r:id="rId20"/>
    <p:sldId id="16772943" r:id="rId21"/>
    <p:sldId id="16772944" r:id="rId22"/>
    <p:sldId id="16772937" r:id="rId23"/>
    <p:sldId id="16772935" r:id="rId24"/>
    <p:sldId id="16772934" r:id="rId25"/>
  </p:sldIdLst>
  <p:sldSz cx="12192000" cy="6858000"/>
  <p:notesSz cx="6858000" cy="9144000"/>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6363"/>
            <p14:sldId id="16776362"/>
            <p14:sldId id="16772958"/>
            <p14:sldId id="16772959"/>
            <p14:sldId id="16776357"/>
            <p14:sldId id="16772949"/>
            <p14:sldId id="16772973"/>
            <p14:sldId id="16776351"/>
            <p14:sldId id="16772938"/>
            <p14:sldId id="16772941"/>
            <p14:sldId id="16772942"/>
            <p14:sldId id="16772943"/>
            <p14:sldId id="16772944"/>
            <p14:sldId id="16772937"/>
            <p14:sldId id="16772935"/>
            <p14:sldId id="167729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46C924-1DD1-4C53-A60B-7863AFF8DFAC}" v="302" dt="2025-09-18T13:56:55.737"/>
    <p1510:client id="{5C017211-4FD9-4E05-B20F-919C8812E71E}" v="34" dt="2025-09-18T09:14:00.135"/>
    <p1510:client id="{9E891F1E-6875-4812-ACD0-C456DB8467F3}" v="2633" dt="2025-09-18T12:40:41.770"/>
    <p1510:client id="{EA457363-CD3F-4774-A955-E5C512A7DBB2}" v="158" dt="2025-09-18T10:51:22.412"/>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88" d="100"/>
          <a:sy n="188" d="100"/>
        </p:scale>
        <p:origin x="514" y="139"/>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tags" Target="tags/tag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 zhendong/0494938/何　振東" userId="022da341-ef73-48fb-bc20-f47322bbf998" providerId="ADAL" clId="{9E891F1E-6875-4812-ACD0-C456DB8467F3}"/>
    <pc:docChg chg="undo custSel addSld delSld modSld sldOrd modSection">
      <pc:chgData name="he zhendong/0494938/何　振東" userId="022da341-ef73-48fb-bc20-f47322bbf998" providerId="ADAL" clId="{9E891F1E-6875-4812-ACD0-C456DB8467F3}" dt="2025-09-18T15:05:27.083" v="6660" actId="1076"/>
      <pc:docMkLst>
        <pc:docMk/>
      </pc:docMkLst>
      <pc:sldChg chg="delSp modSp mod">
        <pc:chgData name="he zhendong/0494938/何　振東" userId="022da341-ef73-48fb-bc20-f47322bbf998" providerId="ADAL" clId="{9E891F1E-6875-4812-ACD0-C456DB8467F3}" dt="2025-09-18T12:36:28.964" v="6560" actId="6549"/>
        <pc:sldMkLst>
          <pc:docMk/>
          <pc:sldMk cId="0" sldId="16772940"/>
        </pc:sldMkLst>
        <pc:spChg chg="del">
          <ac:chgData name="he zhendong/0494938/何　振東" userId="022da341-ef73-48fb-bc20-f47322bbf998" providerId="ADAL" clId="{9E891F1E-6875-4812-ACD0-C456DB8467F3}" dt="2025-09-18T05:58:09.164" v="2270" actId="478"/>
          <ac:spMkLst>
            <pc:docMk/>
            <pc:sldMk cId="0" sldId="16772940"/>
            <ac:spMk id="3" creationId="{D590BFAE-711F-4876-DC17-4387772F69A3}"/>
          </ac:spMkLst>
        </pc:spChg>
        <pc:spChg chg="mod">
          <ac:chgData name="he zhendong/0494938/何　振東" userId="022da341-ef73-48fb-bc20-f47322bbf998" providerId="ADAL" clId="{9E891F1E-6875-4812-ACD0-C456DB8467F3}" dt="2025-09-18T12:36:28.964" v="6560" actId="6549"/>
          <ac:spMkLst>
            <pc:docMk/>
            <pc:sldMk cId="0" sldId="16772940"/>
            <ac:spMk id="15" creationId="{00000000-0000-0000-0000-000000000000}"/>
          </ac:spMkLst>
        </pc:spChg>
      </pc:sldChg>
      <pc:sldChg chg="delSp mod">
        <pc:chgData name="he zhendong/0494938/何　振東" userId="022da341-ef73-48fb-bc20-f47322bbf998" providerId="ADAL" clId="{9E891F1E-6875-4812-ACD0-C456DB8467F3}" dt="2025-09-18T05:58:11.986" v="2271" actId="478"/>
        <pc:sldMkLst>
          <pc:docMk/>
          <pc:sldMk cId="0" sldId="16772945"/>
        </pc:sldMkLst>
        <pc:spChg chg="del">
          <ac:chgData name="he zhendong/0494938/何　振東" userId="022da341-ef73-48fb-bc20-f47322bbf998" providerId="ADAL" clId="{9E891F1E-6875-4812-ACD0-C456DB8467F3}" dt="2025-09-18T05:58:11.986" v="2271" actId="478"/>
          <ac:spMkLst>
            <pc:docMk/>
            <pc:sldMk cId="0" sldId="16772945"/>
            <ac:spMk id="3" creationId="{00000000-0000-0000-0000-000000000000}"/>
          </ac:spMkLst>
        </pc:spChg>
      </pc:sldChg>
      <pc:sldChg chg="delSp mod">
        <pc:chgData name="he zhendong/0494938/何　振東" userId="022da341-ef73-48fb-bc20-f47322bbf998" providerId="ADAL" clId="{9E891F1E-6875-4812-ACD0-C456DB8467F3}" dt="2025-09-18T05:58:16.107" v="2272" actId="478"/>
        <pc:sldMkLst>
          <pc:docMk/>
          <pc:sldMk cId="0" sldId="16772946"/>
        </pc:sldMkLst>
        <pc:spChg chg="del">
          <ac:chgData name="he zhendong/0494938/何　振東" userId="022da341-ef73-48fb-bc20-f47322bbf998" providerId="ADAL" clId="{9E891F1E-6875-4812-ACD0-C456DB8467F3}" dt="2025-09-18T05:58:16.107" v="2272" actId="478"/>
          <ac:spMkLst>
            <pc:docMk/>
            <pc:sldMk cId="0" sldId="16772946"/>
            <ac:spMk id="3" creationId="{00000000-0000-0000-0000-000000000000}"/>
          </ac:spMkLst>
        </pc:spChg>
      </pc:sldChg>
      <pc:sldChg chg="delSp modSp mod">
        <pc:chgData name="he zhendong/0494938/何　振東" userId="022da341-ef73-48fb-bc20-f47322bbf998" providerId="ADAL" clId="{9E891F1E-6875-4812-ACD0-C456DB8467F3}" dt="2025-09-18T12:20:03.617" v="6528"/>
        <pc:sldMkLst>
          <pc:docMk/>
          <pc:sldMk cId="0" sldId="16772948"/>
        </pc:sldMkLst>
        <pc:spChg chg="del">
          <ac:chgData name="he zhendong/0494938/何　振東" userId="022da341-ef73-48fb-bc20-f47322bbf998" providerId="ADAL" clId="{9E891F1E-6875-4812-ACD0-C456DB8467F3}" dt="2025-09-18T05:58:25.611" v="2273" actId="478"/>
          <ac:spMkLst>
            <pc:docMk/>
            <pc:sldMk cId="0" sldId="16772948"/>
            <ac:spMk id="3" creationId="{00000000-0000-0000-0000-000000000000}"/>
          </ac:spMkLst>
        </pc:spChg>
        <pc:spChg chg="mod">
          <ac:chgData name="he zhendong/0494938/何　振東" userId="022da341-ef73-48fb-bc20-f47322bbf998" providerId="ADAL" clId="{9E891F1E-6875-4812-ACD0-C456DB8467F3}" dt="2025-09-18T12:20:03.617" v="6528"/>
          <ac:spMkLst>
            <pc:docMk/>
            <pc:sldMk cId="0" sldId="16772948"/>
            <ac:spMk id="15" creationId="{00000000-0000-0000-0000-000000000000}"/>
          </ac:spMkLst>
        </pc:spChg>
      </pc:sldChg>
      <pc:sldChg chg="delSp modSp mod">
        <pc:chgData name="he zhendong/0494938/何　振東" userId="022da341-ef73-48fb-bc20-f47322bbf998" providerId="ADAL" clId="{9E891F1E-6875-4812-ACD0-C456DB8467F3}" dt="2025-09-18T05:58:28.187" v="2274" actId="478"/>
        <pc:sldMkLst>
          <pc:docMk/>
          <pc:sldMk cId="0" sldId="16772953"/>
        </pc:sldMkLst>
        <pc:spChg chg="mod">
          <ac:chgData name="he zhendong/0494938/何　振東" userId="022da341-ef73-48fb-bc20-f47322bbf998" providerId="ADAL" clId="{9E891F1E-6875-4812-ACD0-C456DB8467F3}" dt="2025-09-18T05:13:03.645" v="22" actId="6549"/>
          <ac:spMkLst>
            <pc:docMk/>
            <pc:sldMk cId="0" sldId="16772953"/>
            <ac:spMk id="15" creationId="{00000000-0000-0000-0000-000000000000}"/>
          </ac:spMkLst>
        </pc:spChg>
        <pc:spChg chg="del">
          <ac:chgData name="he zhendong/0494938/何　振東" userId="022da341-ef73-48fb-bc20-f47322bbf998" providerId="ADAL" clId="{9E891F1E-6875-4812-ACD0-C456DB8467F3}" dt="2025-09-18T05:58:28.187" v="2274" actId="478"/>
          <ac:spMkLst>
            <pc:docMk/>
            <pc:sldMk cId="0" sldId="16772953"/>
            <ac:spMk id="33" creationId="{00000000-0000-0000-0000-000000000000}"/>
          </ac:spMkLst>
        </pc:spChg>
      </pc:sldChg>
      <pc:sldChg chg="delSp modSp mod">
        <pc:chgData name="he zhendong/0494938/何　振東" userId="022da341-ef73-48fb-bc20-f47322bbf998" providerId="ADAL" clId="{9E891F1E-6875-4812-ACD0-C456DB8467F3}" dt="2025-09-18T09:02:47.555" v="5629" actId="20577"/>
        <pc:sldMkLst>
          <pc:docMk/>
          <pc:sldMk cId="0" sldId="16772954"/>
        </pc:sldMkLst>
        <pc:spChg chg="del">
          <ac:chgData name="he zhendong/0494938/何　振東" userId="022da341-ef73-48fb-bc20-f47322bbf998" providerId="ADAL" clId="{9E891F1E-6875-4812-ACD0-C456DB8467F3}" dt="2025-09-18T05:58:37.404" v="2275" actId="478"/>
          <ac:spMkLst>
            <pc:docMk/>
            <pc:sldMk cId="0" sldId="16772954"/>
            <ac:spMk id="3" creationId="{00000000-0000-0000-0000-000000000000}"/>
          </ac:spMkLst>
        </pc:spChg>
        <pc:spChg chg="mod">
          <ac:chgData name="he zhendong/0494938/何　振東" userId="022da341-ef73-48fb-bc20-f47322bbf998" providerId="ADAL" clId="{9E891F1E-6875-4812-ACD0-C456DB8467F3}" dt="2025-09-18T09:02:47.555" v="5629" actId="20577"/>
          <ac:spMkLst>
            <pc:docMk/>
            <pc:sldMk cId="0" sldId="16772954"/>
            <ac:spMk id="15" creationId="{00000000-0000-0000-0000-000000000000}"/>
          </ac:spMkLst>
        </pc:spChg>
      </pc:sldChg>
      <pc:sldChg chg="addSp delSp modSp mod">
        <pc:chgData name="he zhendong/0494938/何　振東" userId="022da341-ef73-48fb-bc20-f47322bbf998" providerId="ADAL" clId="{9E891F1E-6875-4812-ACD0-C456DB8467F3}" dt="2025-09-18T08:00:35.902" v="3438" actId="14100"/>
        <pc:sldMkLst>
          <pc:docMk/>
          <pc:sldMk cId="0" sldId="16772955"/>
        </pc:sldMkLst>
        <pc:spChg chg="del mod">
          <ac:chgData name="he zhendong/0494938/何　振東" userId="022da341-ef73-48fb-bc20-f47322bbf998" providerId="ADAL" clId="{9E891F1E-6875-4812-ACD0-C456DB8467F3}" dt="2025-09-18T05:58:42.957" v="2277" actId="478"/>
          <ac:spMkLst>
            <pc:docMk/>
            <pc:sldMk cId="0" sldId="16772955"/>
            <ac:spMk id="3"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0" creationId="{611FA5FB-7620-4324-88D3-512BF9B0B1D3}"/>
          </ac:spMkLst>
        </pc:spChg>
        <pc:spChg chg="add mod">
          <ac:chgData name="he zhendong/0494938/何　振東" userId="022da341-ef73-48fb-bc20-f47322bbf998" providerId="ADAL" clId="{9E891F1E-6875-4812-ACD0-C456DB8467F3}" dt="2025-09-18T07:50:17.876" v="2684" actId="34135"/>
          <ac:spMkLst>
            <pc:docMk/>
            <pc:sldMk cId="0" sldId="16772955"/>
            <ac:spMk id="11" creationId="{A2F23E60-44C9-327D-13DD-39893E0A6278}"/>
          </ac:spMkLst>
        </pc:spChg>
        <pc:spChg chg="mod">
          <ac:chgData name="he zhendong/0494938/何　振東" userId="022da341-ef73-48fb-bc20-f47322bbf998" providerId="ADAL" clId="{9E891F1E-6875-4812-ACD0-C456DB8467F3}" dt="2025-09-18T07:50:51.949" v="2690" actId="404"/>
          <ac:spMkLst>
            <pc:docMk/>
            <pc:sldMk cId="0" sldId="16772955"/>
            <ac:spMk id="15"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7" creationId="{E25D5D8D-BA9D-B4BD-6596-D534F6178AB4}"/>
          </ac:spMkLst>
        </pc:spChg>
        <pc:spChg chg="add mod">
          <ac:chgData name="he zhendong/0494938/何　振東" userId="022da341-ef73-48fb-bc20-f47322bbf998" providerId="ADAL" clId="{9E891F1E-6875-4812-ACD0-C456DB8467F3}" dt="2025-09-18T07:50:17.876" v="2684" actId="34135"/>
          <ac:spMkLst>
            <pc:docMk/>
            <pc:sldMk cId="0" sldId="16772955"/>
            <ac:spMk id="22" creationId="{1D19EB9E-8BF7-9B70-9F7B-CCD82D95FF36}"/>
          </ac:spMkLst>
        </pc:spChg>
        <pc:spChg chg="add mod">
          <ac:chgData name="he zhendong/0494938/何　振東" userId="022da341-ef73-48fb-bc20-f47322bbf998" providerId="ADAL" clId="{9E891F1E-6875-4812-ACD0-C456DB8467F3}" dt="2025-09-18T07:49:21.442" v="2644" actId="166"/>
          <ac:spMkLst>
            <pc:docMk/>
            <pc:sldMk cId="0" sldId="16772955"/>
            <ac:spMk id="26" creationId="{27C1F174-4F20-4865-36C6-ED7EB53B8202}"/>
          </ac:spMkLst>
        </pc:spChg>
        <pc:spChg chg="add mod">
          <ac:chgData name="he zhendong/0494938/何　振東" userId="022da341-ef73-48fb-bc20-f47322bbf998" providerId="ADAL" clId="{9E891F1E-6875-4812-ACD0-C456DB8467F3}" dt="2025-09-18T07:50:17.876" v="2684" actId="34135"/>
          <ac:spMkLst>
            <pc:docMk/>
            <pc:sldMk cId="0" sldId="16772955"/>
            <ac:spMk id="27" creationId="{96C6B8BA-3036-D96F-198D-7F80076030EB}"/>
          </ac:spMkLst>
        </pc:spChg>
        <pc:spChg chg="add mod">
          <ac:chgData name="he zhendong/0494938/何　振東" userId="022da341-ef73-48fb-bc20-f47322bbf998" providerId="ADAL" clId="{9E891F1E-6875-4812-ACD0-C456DB8467F3}" dt="2025-09-18T07:50:17.876" v="2684" actId="34135"/>
          <ac:spMkLst>
            <pc:docMk/>
            <pc:sldMk cId="0" sldId="16772955"/>
            <ac:spMk id="28" creationId="{1305AC61-2ABE-194F-D3B9-A88106D091EB}"/>
          </ac:spMkLst>
        </pc:spChg>
        <pc:spChg chg="add mod">
          <ac:chgData name="he zhendong/0494938/何　振東" userId="022da341-ef73-48fb-bc20-f47322bbf998" providerId="ADAL" clId="{9E891F1E-6875-4812-ACD0-C456DB8467F3}" dt="2025-09-18T07:50:17.876" v="2684" actId="34135"/>
          <ac:spMkLst>
            <pc:docMk/>
            <pc:sldMk cId="0" sldId="16772955"/>
            <ac:spMk id="33" creationId="{6FCCFBA2-80DA-DE56-16FB-27544437267B}"/>
          </ac:spMkLst>
        </pc:spChg>
        <pc:spChg chg="add mod">
          <ac:chgData name="he zhendong/0494938/何　振東" userId="022da341-ef73-48fb-bc20-f47322bbf998" providerId="ADAL" clId="{9E891F1E-6875-4812-ACD0-C456DB8467F3}" dt="2025-09-18T07:50:17.876" v="2684" actId="34135"/>
          <ac:spMkLst>
            <pc:docMk/>
            <pc:sldMk cId="0" sldId="16772955"/>
            <ac:spMk id="34" creationId="{D080D4B5-33C2-D04C-58A4-91869F64D4F8}"/>
          </ac:spMkLst>
        </pc:spChg>
        <pc:spChg chg="add mod">
          <ac:chgData name="he zhendong/0494938/何　振東" userId="022da341-ef73-48fb-bc20-f47322bbf998" providerId="ADAL" clId="{9E891F1E-6875-4812-ACD0-C456DB8467F3}" dt="2025-09-18T07:50:17.876" v="2684" actId="34135"/>
          <ac:spMkLst>
            <pc:docMk/>
            <pc:sldMk cId="0" sldId="16772955"/>
            <ac:spMk id="35" creationId="{07156DEC-D84B-AD51-E4C1-C7745FF03A88}"/>
          </ac:spMkLst>
        </pc:spChg>
        <pc:spChg chg="add mod">
          <ac:chgData name="he zhendong/0494938/何　振東" userId="022da341-ef73-48fb-bc20-f47322bbf998" providerId="ADAL" clId="{9E891F1E-6875-4812-ACD0-C456DB8467F3}" dt="2025-09-18T07:50:17.876" v="2684" actId="34135"/>
          <ac:spMkLst>
            <pc:docMk/>
            <pc:sldMk cId="0" sldId="16772955"/>
            <ac:spMk id="36" creationId="{AB4C2A2D-9240-EDBD-C317-786B2F0B439B}"/>
          </ac:spMkLst>
        </pc:spChg>
        <pc:spChg chg="add mod">
          <ac:chgData name="he zhendong/0494938/何　振東" userId="022da341-ef73-48fb-bc20-f47322bbf998" providerId="ADAL" clId="{9E891F1E-6875-4812-ACD0-C456DB8467F3}" dt="2025-09-18T08:00:35.902" v="3438" actId="14100"/>
          <ac:spMkLst>
            <pc:docMk/>
            <pc:sldMk cId="0" sldId="16772955"/>
            <ac:spMk id="37" creationId="{5C36AF81-6A27-5DF0-5677-924E9C819293}"/>
          </ac:spMkLst>
        </pc:spChg>
        <pc:spChg chg="add del mod">
          <ac:chgData name="he zhendong/0494938/何　振東" userId="022da341-ef73-48fb-bc20-f47322bbf998" providerId="ADAL" clId="{9E891F1E-6875-4812-ACD0-C456DB8467F3}" dt="2025-09-18T07:55:02.218" v="2770" actId="478"/>
          <ac:spMkLst>
            <pc:docMk/>
            <pc:sldMk cId="0" sldId="16772955"/>
            <ac:spMk id="43" creationId="{1A8EF3E1-AF68-D652-848C-2F9266A4EC52}"/>
          </ac:spMkLst>
        </pc:spChg>
        <pc:spChg chg="add del mod">
          <ac:chgData name="he zhendong/0494938/何　振東" userId="022da341-ef73-48fb-bc20-f47322bbf998" providerId="ADAL" clId="{9E891F1E-6875-4812-ACD0-C456DB8467F3}" dt="2025-09-18T07:55:36.660" v="2779" actId="1076"/>
          <ac:spMkLst>
            <pc:docMk/>
            <pc:sldMk cId="0" sldId="16772955"/>
            <ac:spMk id="45" creationId="{AC2A33F9-D23A-E1BF-8070-8A636ECDDA05}"/>
          </ac:spMkLst>
        </pc:spChg>
        <pc:spChg chg="add del mod">
          <ac:chgData name="he zhendong/0494938/何　振東" userId="022da341-ef73-48fb-bc20-f47322bbf998" providerId="ADAL" clId="{9E891F1E-6875-4812-ACD0-C456DB8467F3}" dt="2025-09-18T07:53:49.597" v="2712" actId="478"/>
          <ac:spMkLst>
            <pc:docMk/>
            <pc:sldMk cId="0" sldId="16772955"/>
            <ac:spMk id="47" creationId="{B6E7E339-BF96-3381-EAE1-311B094853BE}"/>
          </ac:spMkLst>
        </pc:spChg>
        <pc:spChg chg="add mod">
          <ac:chgData name="he zhendong/0494938/何　振東" userId="022da341-ef73-48fb-bc20-f47322bbf998" providerId="ADAL" clId="{9E891F1E-6875-4812-ACD0-C456DB8467F3}" dt="2025-09-18T07:57:08.932" v="2806" actId="1076"/>
          <ac:spMkLst>
            <pc:docMk/>
            <pc:sldMk cId="0" sldId="16772955"/>
            <ac:spMk id="49" creationId="{CC8062C9-B741-8172-DF62-932172D25746}"/>
          </ac:spMkLst>
        </pc:spChg>
        <pc:spChg chg="add mod">
          <ac:chgData name="he zhendong/0494938/何　振東" userId="022da341-ef73-48fb-bc20-f47322bbf998" providerId="ADAL" clId="{9E891F1E-6875-4812-ACD0-C456DB8467F3}" dt="2025-09-18T07:55:41.539" v="2780" actId="1076"/>
          <ac:spMkLst>
            <pc:docMk/>
            <pc:sldMk cId="0" sldId="16772955"/>
            <ac:spMk id="50" creationId="{CB0810E1-9F6F-6930-EBC0-582CD24EFC47}"/>
          </ac:spMkLst>
        </pc:spChg>
        <pc:spChg chg="add mod">
          <ac:chgData name="he zhendong/0494938/何　振東" userId="022da341-ef73-48fb-bc20-f47322bbf998" providerId="ADAL" clId="{9E891F1E-6875-4812-ACD0-C456DB8467F3}" dt="2025-09-18T07:52:54.527" v="2701" actId="1076"/>
          <ac:spMkLst>
            <pc:docMk/>
            <pc:sldMk cId="0" sldId="16772955"/>
            <ac:spMk id="52" creationId="{240366E5-522F-BED1-7E22-A83EE668803E}"/>
          </ac:spMkLst>
        </pc:spChg>
        <pc:spChg chg="add mod">
          <ac:chgData name="he zhendong/0494938/何　振東" userId="022da341-ef73-48fb-bc20-f47322bbf998" providerId="ADAL" clId="{9E891F1E-6875-4812-ACD0-C456DB8467F3}" dt="2025-09-18T07:56:42.490" v="2798" actId="1076"/>
          <ac:spMkLst>
            <pc:docMk/>
            <pc:sldMk cId="0" sldId="16772955"/>
            <ac:spMk id="53" creationId="{B2CB038B-03D1-0D8B-10DF-6400006EECF2}"/>
          </ac:spMkLst>
        </pc:spChg>
        <pc:spChg chg="add del mod">
          <ac:chgData name="he zhendong/0494938/何　振東" userId="022da341-ef73-48fb-bc20-f47322bbf998" providerId="ADAL" clId="{9E891F1E-6875-4812-ACD0-C456DB8467F3}" dt="2025-09-18T07:53:26.681" v="2708"/>
          <ac:spMkLst>
            <pc:docMk/>
            <pc:sldMk cId="0" sldId="16772955"/>
            <ac:spMk id="54" creationId="{AB9A4878-0441-8B71-147C-3E2013F5F8CE}"/>
          </ac:spMkLst>
        </pc:spChg>
        <pc:spChg chg="add mod">
          <ac:chgData name="he zhendong/0494938/何　振東" userId="022da341-ef73-48fb-bc20-f47322bbf998" providerId="ADAL" clId="{9E891F1E-6875-4812-ACD0-C456DB8467F3}" dt="2025-09-18T07:59:39.573" v="3398" actId="1076"/>
          <ac:spMkLst>
            <pc:docMk/>
            <pc:sldMk cId="0" sldId="16772955"/>
            <ac:spMk id="59" creationId="{EEA18915-2B03-2711-02B3-AA6653EB607F}"/>
          </ac:spMkLst>
        </pc:spChg>
        <pc:spChg chg="add mod">
          <ac:chgData name="he zhendong/0494938/何　振東" userId="022da341-ef73-48fb-bc20-f47322bbf998" providerId="ADAL" clId="{9E891F1E-6875-4812-ACD0-C456DB8467F3}" dt="2025-09-18T07:56:19.551" v="2792" actId="1076"/>
          <ac:spMkLst>
            <pc:docMk/>
            <pc:sldMk cId="0" sldId="16772955"/>
            <ac:spMk id="1025" creationId="{AC3B1F0B-E566-6EF5-AAC0-CDE800C734BB}"/>
          </ac:spMkLst>
        </pc:spChg>
        <pc:spChg chg="add mod">
          <ac:chgData name="he zhendong/0494938/何　振東" userId="022da341-ef73-48fb-bc20-f47322bbf998" providerId="ADAL" clId="{9E891F1E-6875-4812-ACD0-C456DB8467F3}" dt="2025-09-18T08:00:00.763" v="3407" actId="403"/>
          <ac:spMkLst>
            <pc:docMk/>
            <pc:sldMk cId="0" sldId="16772955"/>
            <ac:spMk id="1032" creationId="{D4139182-7A25-C154-76AA-09ACC96E7A63}"/>
          </ac:spMkLst>
        </pc:spChg>
        <pc:spChg chg="add mod">
          <ac:chgData name="he zhendong/0494938/何　振東" userId="022da341-ef73-48fb-bc20-f47322bbf998" providerId="ADAL" clId="{9E891F1E-6875-4812-ACD0-C456DB8467F3}" dt="2025-09-18T08:00:33.517" v="3437" actId="1076"/>
          <ac:spMkLst>
            <pc:docMk/>
            <pc:sldMk cId="0" sldId="16772955"/>
            <ac:spMk id="1033" creationId="{AA6A1C5F-CD32-06FC-BF97-C539693B7948}"/>
          </ac:spMkLst>
        </pc:spChg>
        <pc:picChg chg="add mod">
          <ac:chgData name="he zhendong/0494938/何　振東" userId="022da341-ef73-48fb-bc20-f47322bbf998" providerId="ADAL" clId="{9E891F1E-6875-4812-ACD0-C456DB8467F3}" dt="2025-09-18T07:42:14.879" v="2442" actId="1076"/>
          <ac:picMkLst>
            <pc:docMk/>
            <pc:sldMk cId="0" sldId="16772955"/>
            <ac:picMk id="3" creationId="{ED65042F-6CBD-AA69-6B0C-CF3722A869A9}"/>
          </ac:picMkLst>
        </pc:picChg>
        <pc:picChg chg="mod">
          <ac:chgData name="he zhendong/0494938/何　振東" userId="022da341-ef73-48fb-bc20-f47322bbf998" providerId="ADAL" clId="{9E891F1E-6875-4812-ACD0-C456DB8467F3}" dt="2025-09-18T07:53:41.608" v="2711" actId="14100"/>
          <ac:picMkLst>
            <pc:docMk/>
            <pc:sldMk cId="0" sldId="16772955"/>
            <ac:picMk id="4" creationId="{00000000-0000-0000-0000-000000000000}"/>
          </ac:picMkLst>
        </pc:picChg>
        <pc:picChg chg="add mod">
          <ac:chgData name="he zhendong/0494938/何　振東" userId="022da341-ef73-48fb-bc20-f47322bbf998" providerId="ADAL" clId="{9E891F1E-6875-4812-ACD0-C456DB8467F3}" dt="2025-09-18T07:42:57.424" v="2447" actId="108"/>
          <ac:picMkLst>
            <pc:docMk/>
            <pc:sldMk cId="0" sldId="16772955"/>
            <ac:picMk id="5" creationId="{E1ACAB65-3AB2-344A-FB04-7B15DA6A0DF0}"/>
          </ac:picMkLst>
        </pc:picChg>
        <pc:picChg chg="add mod">
          <ac:chgData name="he zhendong/0494938/何　振東" userId="022da341-ef73-48fb-bc20-f47322bbf998" providerId="ADAL" clId="{9E891F1E-6875-4812-ACD0-C456DB8467F3}" dt="2025-09-18T07:43:11.362" v="2451" actId="1076"/>
          <ac:picMkLst>
            <pc:docMk/>
            <pc:sldMk cId="0" sldId="16772955"/>
            <ac:picMk id="8" creationId="{944E0A13-6EAB-94C1-BA90-E7306C49B52F}"/>
          </ac:picMkLst>
        </pc:picChg>
        <pc:picChg chg="add mod">
          <ac:chgData name="he zhendong/0494938/何　振東" userId="022da341-ef73-48fb-bc20-f47322bbf998" providerId="ADAL" clId="{9E891F1E-6875-4812-ACD0-C456DB8467F3}" dt="2025-09-18T07:43:31.962" v="2456" actId="1076"/>
          <ac:picMkLst>
            <pc:docMk/>
            <pc:sldMk cId="0" sldId="16772955"/>
            <ac:picMk id="9" creationId="{0E7B17E4-6701-30C0-DAC9-238982F9C12A}"/>
          </ac:picMkLst>
        </pc:picChg>
        <pc:picChg chg="add mod">
          <ac:chgData name="he zhendong/0494938/何　振東" userId="022da341-ef73-48fb-bc20-f47322bbf998" providerId="ADAL" clId="{9E891F1E-6875-4812-ACD0-C456DB8467F3}" dt="2025-09-18T07:51:03.080" v="2694" actId="1076"/>
          <ac:picMkLst>
            <pc:docMk/>
            <pc:sldMk cId="0" sldId="16772955"/>
            <ac:picMk id="38" creationId="{531273D5-EDE3-11B0-B91C-0D5878763265}"/>
          </ac:picMkLst>
        </pc:picChg>
        <pc:picChg chg="add del mod">
          <ac:chgData name="he zhendong/0494938/何　振東" userId="022da341-ef73-48fb-bc20-f47322bbf998" providerId="ADAL" clId="{9E891F1E-6875-4812-ACD0-C456DB8467F3}" dt="2025-09-18T07:54:52.477" v="2767" actId="478"/>
          <ac:picMkLst>
            <pc:docMk/>
            <pc:sldMk cId="0" sldId="16772955"/>
            <ac:picMk id="39" creationId="{F255F04C-44B0-E9C4-6775-7084701CA68B}"/>
          </ac:picMkLst>
        </pc:picChg>
        <pc:picChg chg="add del mod">
          <ac:chgData name="he zhendong/0494938/何　振東" userId="022da341-ef73-48fb-bc20-f47322bbf998" providerId="ADAL" clId="{9E891F1E-6875-4812-ACD0-C456DB8467F3}" dt="2025-09-18T07:54:50.349" v="2766" actId="478"/>
          <ac:picMkLst>
            <pc:docMk/>
            <pc:sldMk cId="0" sldId="16772955"/>
            <ac:picMk id="40" creationId="{0AB5B7AC-A090-4F03-2337-C68F43B9F437}"/>
          </ac:picMkLst>
        </pc:picChg>
        <pc:picChg chg="mod">
          <ac:chgData name="he zhendong/0494938/何　振東" userId="022da341-ef73-48fb-bc20-f47322bbf998" providerId="ADAL" clId="{9E891F1E-6875-4812-ACD0-C456DB8467F3}" dt="2025-09-18T07:56:35.546" v="2795" actId="1076"/>
          <ac:picMkLst>
            <pc:docMk/>
            <pc:sldMk cId="0" sldId="16772955"/>
            <ac:picMk id="41" creationId="{8E9EFDF4-2BCC-56FD-6252-F85371325FD0}"/>
          </ac:picMkLst>
        </pc:picChg>
        <pc:picChg chg="add mod">
          <ac:chgData name="he zhendong/0494938/何　振東" userId="022da341-ef73-48fb-bc20-f47322bbf998" providerId="ADAL" clId="{9E891F1E-6875-4812-ACD0-C456DB8467F3}" dt="2025-09-18T07:52:54.527" v="2701" actId="1076"/>
          <ac:picMkLst>
            <pc:docMk/>
            <pc:sldMk cId="0" sldId="16772955"/>
            <ac:picMk id="42" creationId="{A3BE9140-324E-4754-4223-7B649CE936AB}"/>
          </ac:picMkLst>
        </pc:picChg>
        <pc:picChg chg="add mod">
          <ac:chgData name="he zhendong/0494938/何　振東" userId="022da341-ef73-48fb-bc20-f47322bbf998" providerId="ADAL" clId="{9E891F1E-6875-4812-ACD0-C456DB8467F3}" dt="2025-09-18T07:56:12.677" v="2790" actId="1076"/>
          <ac:picMkLst>
            <pc:docMk/>
            <pc:sldMk cId="0" sldId="16772955"/>
            <ac:picMk id="1026" creationId="{786172C5-BE22-6FE9-70AE-74E84586039E}"/>
          </ac:picMkLst>
        </pc:picChg>
        <pc:cxnChg chg="add del mod">
          <ac:chgData name="he zhendong/0494938/何　振東" userId="022da341-ef73-48fb-bc20-f47322bbf998" providerId="ADAL" clId="{9E891F1E-6875-4812-ACD0-C456DB8467F3}" dt="2025-09-18T07:44:12.230" v="2463" actId="478"/>
          <ac:cxnSpMkLst>
            <pc:docMk/>
            <pc:sldMk cId="0" sldId="16772955"/>
            <ac:cxnSpMk id="7" creationId="{91C6F7D0-0EF1-566B-94E4-38AACCB0A744}"/>
          </ac:cxnSpMkLst>
        </pc:cxnChg>
        <pc:cxnChg chg="add mod">
          <ac:chgData name="he zhendong/0494938/何　振東" userId="022da341-ef73-48fb-bc20-f47322bbf998" providerId="ADAL" clId="{9E891F1E-6875-4812-ACD0-C456DB8467F3}" dt="2025-09-18T07:44:49.460" v="2477" actId="1038"/>
          <ac:cxnSpMkLst>
            <pc:docMk/>
            <pc:sldMk cId="0" sldId="16772955"/>
            <ac:cxnSpMk id="12" creationId="{F5C01C4D-AD2A-566A-7BED-260CDC8A9E3E}"/>
          </ac:cxnSpMkLst>
        </pc:cxnChg>
        <pc:cxnChg chg="add mod">
          <ac:chgData name="he zhendong/0494938/何　振東" userId="022da341-ef73-48fb-bc20-f47322bbf998" providerId="ADAL" clId="{9E891F1E-6875-4812-ACD0-C456DB8467F3}" dt="2025-09-18T07:46:39.469" v="2531" actId="14100"/>
          <ac:cxnSpMkLst>
            <pc:docMk/>
            <pc:sldMk cId="0" sldId="16772955"/>
            <ac:cxnSpMk id="19" creationId="{A653D454-21AE-C69A-C473-415D31E457D1}"/>
          </ac:cxnSpMkLst>
        </pc:cxnChg>
        <pc:cxnChg chg="add mod">
          <ac:chgData name="he zhendong/0494938/何　振東" userId="022da341-ef73-48fb-bc20-f47322bbf998" providerId="ADAL" clId="{9E891F1E-6875-4812-ACD0-C456DB8467F3}" dt="2025-09-18T07:45:56.829" v="2499" actId="14100"/>
          <ac:cxnSpMkLst>
            <pc:docMk/>
            <pc:sldMk cId="0" sldId="16772955"/>
            <ac:cxnSpMk id="23" creationId="{2E4EA81E-6181-E828-3E3A-321400679CF2}"/>
          </ac:cxnSpMkLst>
        </pc:cxnChg>
        <pc:cxnChg chg="add mod">
          <ac:chgData name="he zhendong/0494938/何　振東" userId="022da341-ef73-48fb-bc20-f47322bbf998" providerId="ADAL" clId="{9E891F1E-6875-4812-ACD0-C456DB8467F3}" dt="2025-09-18T07:46:56.638" v="2536" actId="692"/>
          <ac:cxnSpMkLst>
            <pc:docMk/>
            <pc:sldMk cId="0" sldId="16772955"/>
            <ac:cxnSpMk id="30" creationId="{5F8CAA34-4EE7-0779-A287-9DF13B08A437}"/>
          </ac:cxnSpMkLst>
        </pc:cxnChg>
        <pc:cxnChg chg="del mod">
          <ac:chgData name="he zhendong/0494938/何　振東" userId="022da341-ef73-48fb-bc20-f47322bbf998" providerId="ADAL" clId="{9E891F1E-6875-4812-ACD0-C456DB8467F3}" dt="2025-09-18T07:54:56.139" v="2768" actId="478"/>
          <ac:cxnSpMkLst>
            <pc:docMk/>
            <pc:sldMk cId="0" sldId="16772955"/>
            <ac:cxnSpMk id="44" creationId="{0C90DBDA-9B63-C9A4-08BC-E9AAADA4C113}"/>
          </ac:cxnSpMkLst>
        </pc:cxnChg>
        <pc:cxnChg chg="mod">
          <ac:chgData name="he zhendong/0494938/何　振東" userId="022da341-ef73-48fb-bc20-f47322bbf998" providerId="ADAL" clId="{9E891F1E-6875-4812-ACD0-C456DB8467F3}" dt="2025-09-18T07:56:54.463" v="2801" actId="14100"/>
          <ac:cxnSpMkLst>
            <pc:docMk/>
            <pc:sldMk cId="0" sldId="16772955"/>
            <ac:cxnSpMk id="46" creationId="{5B278C19-41EF-91A0-1330-9B5E1F8D5D0B}"/>
          </ac:cxnSpMkLst>
        </pc:cxnChg>
        <pc:cxnChg chg="del mod">
          <ac:chgData name="he zhendong/0494938/何　振東" userId="022da341-ef73-48fb-bc20-f47322bbf998" providerId="ADAL" clId="{9E891F1E-6875-4812-ACD0-C456DB8467F3}" dt="2025-09-18T07:55:22.527" v="2776" actId="478"/>
          <ac:cxnSpMkLst>
            <pc:docMk/>
            <pc:sldMk cId="0" sldId="16772955"/>
            <ac:cxnSpMk id="48" creationId="{083647A5-C03A-C961-F6E4-06D3EEA69907}"/>
          </ac:cxnSpMkLst>
        </pc:cxnChg>
        <pc:cxnChg chg="mod">
          <ac:chgData name="he zhendong/0494938/何　振東" userId="022da341-ef73-48fb-bc20-f47322bbf998" providerId="ADAL" clId="{9E891F1E-6875-4812-ACD0-C456DB8467F3}" dt="2025-09-18T07:56:37.918" v="2796" actId="14100"/>
          <ac:cxnSpMkLst>
            <pc:docMk/>
            <pc:sldMk cId="0" sldId="16772955"/>
            <ac:cxnSpMk id="51" creationId="{612AF02D-1591-6E53-3562-7292BCCAE86D}"/>
          </ac:cxnSpMkLst>
        </pc:cxnChg>
      </pc:sldChg>
      <pc:sldChg chg="delSp modSp mod">
        <pc:chgData name="he zhendong/0494938/何　振東" userId="022da341-ef73-48fb-bc20-f47322bbf998" providerId="ADAL" clId="{9E891F1E-6875-4812-ACD0-C456DB8467F3}" dt="2025-09-18T05:58:48.699" v="2278" actId="478"/>
        <pc:sldMkLst>
          <pc:docMk/>
          <pc:sldMk cId="0" sldId="16772956"/>
        </pc:sldMkLst>
        <pc:spChg chg="del">
          <ac:chgData name="he zhendong/0494938/何　振東" userId="022da341-ef73-48fb-bc20-f47322bbf998" providerId="ADAL" clId="{9E891F1E-6875-4812-ACD0-C456DB8467F3}" dt="2025-09-18T05:58:48.699" v="2278" actId="478"/>
          <ac:spMkLst>
            <pc:docMk/>
            <pc:sldMk cId="0" sldId="16772956"/>
            <ac:spMk id="7" creationId="{00000000-0000-0000-0000-000000000000}"/>
          </ac:spMkLst>
        </pc:spChg>
        <pc:spChg chg="mod">
          <ac:chgData name="he zhendong/0494938/何　振東" userId="022da341-ef73-48fb-bc20-f47322bbf998" providerId="ADAL" clId="{9E891F1E-6875-4812-ACD0-C456DB8467F3}" dt="2025-09-18T05:13:48.838" v="23" actId="404"/>
          <ac:spMkLst>
            <pc:docMk/>
            <pc:sldMk cId="0" sldId="16772956"/>
            <ac:spMk id="15" creationId="{00000000-0000-0000-0000-000000000000}"/>
          </ac:spMkLst>
        </pc:spChg>
        <pc:graphicFrameChg chg="mod">
          <ac:chgData name="he zhendong/0494938/何　振東" userId="022da341-ef73-48fb-bc20-f47322bbf998" providerId="ADAL" clId="{9E891F1E-6875-4812-ACD0-C456DB8467F3}" dt="2025-09-18T05:13:51.747" v="24" actId="1076"/>
          <ac:graphicFrameMkLst>
            <pc:docMk/>
            <pc:sldMk cId="0" sldId="16772956"/>
            <ac:graphicFrameMk id="6" creationId="{00000000-0000-0000-0000-000000000000}"/>
          </ac:graphicFrameMkLst>
        </pc:graphicFrameChg>
      </pc:sldChg>
      <pc:sldChg chg="delSp modSp mod">
        <pc:chgData name="he zhendong/0494938/何　振東" userId="022da341-ef73-48fb-bc20-f47322bbf998" providerId="ADAL" clId="{9E891F1E-6875-4812-ACD0-C456DB8467F3}" dt="2025-09-18T05:59:14.569" v="2293"/>
        <pc:sldMkLst>
          <pc:docMk/>
          <pc:sldMk cId="0" sldId="16772957"/>
        </pc:sldMkLst>
        <pc:spChg chg="mod">
          <ac:chgData name="he zhendong/0494938/何　振東" userId="022da341-ef73-48fb-bc20-f47322bbf998" providerId="ADAL" clId="{9E891F1E-6875-4812-ACD0-C456DB8467F3}" dt="2025-09-18T05:59:14.569" v="2293"/>
          <ac:spMkLst>
            <pc:docMk/>
            <pc:sldMk cId="0" sldId="16772957"/>
            <ac:spMk id="2" creationId="{00000000-0000-0000-0000-000000000000}"/>
          </ac:spMkLst>
        </pc:spChg>
        <pc:spChg chg="del">
          <ac:chgData name="he zhendong/0494938/何　振東" userId="022da341-ef73-48fb-bc20-f47322bbf998" providerId="ADAL" clId="{9E891F1E-6875-4812-ACD0-C456DB8467F3}" dt="2025-09-18T05:58:57.187" v="2280" actId="478"/>
          <ac:spMkLst>
            <pc:docMk/>
            <pc:sldMk cId="0" sldId="16772957"/>
            <ac:spMk id="3" creationId="{00000000-0000-0000-0000-000000000000}"/>
          </ac:spMkLst>
        </pc:spChg>
      </pc:sldChg>
      <pc:sldChg chg="delSp modSp mod">
        <pc:chgData name="he zhendong/0494938/何　振東" userId="022da341-ef73-48fb-bc20-f47322bbf998" providerId="ADAL" clId="{9E891F1E-6875-4812-ACD0-C456DB8467F3}" dt="2025-09-18T05:19:23.633" v="1268" actId="14100"/>
        <pc:sldMkLst>
          <pc:docMk/>
          <pc:sldMk cId="0" sldId="16772960"/>
        </pc:sldMkLst>
        <pc:spChg chg="del mod">
          <ac:chgData name="he zhendong/0494938/何　振東" userId="022da341-ef73-48fb-bc20-f47322bbf998" providerId="ADAL" clId="{9E891F1E-6875-4812-ACD0-C456DB8467F3}" dt="2025-09-18T05:19:18.492" v="1266" actId="478"/>
          <ac:spMkLst>
            <pc:docMk/>
            <pc:sldMk cId="0" sldId="16772960"/>
            <ac:spMk id="15" creationId="{00000000-0000-0000-0000-000000000000}"/>
          </ac:spMkLst>
        </pc:spChg>
        <pc:graphicFrameChg chg="mod modGraphic">
          <ac:chgData name="he zhendong/0494938/何　振東" userId="022da341-ef73-48fb-bc20-f47322bbf998" providerId="ADAL" clId="{9E891F1E-6875-4812-ACD0-C456DB8467F3}" dt="2025-09-18T05:19:23.633" v="1268" actId="14100"/>
          <ac:graphicFrameMkLst>
            <pc:docMk/>
            <pc:sldMk cId="0" sldId="16772960"/>
            <ac:graphicFrameMk id="4" creationId="{9364F8F7-8993-8F9F-93B4-950689A63292}"/>
          </ac:graphicFrameMkLst>
        </pc:graphicFrameChg>
      </pc:sldChg>
      <pc:sldChg chg="addSp delSp modSp mod">
        <pc:chgData name="he zhendong/0494938/何　振東" userId="022da341-ef73-48fb-bc20-f47322bbf998" providerId="ADAL" clId="{9E891F1E-6875-4812-ACD0-C456DB8467F3}" dt="2025-09-18T12:51:05.763" v="6654" actId="14100"/>
        <pc:sldMkLst>
          <pc:docMk/>
          <pc:sldMk cId="0" sldId="16772961"/>
        </pc:sldMkLst>
        <pc:spChg chg="add mod">
          <ac:chgData name="he zhendong/0494938/何　振東" userId="022da341-ef73-48fb-bc20-f47322bbf998" providerId="ADAL" clId="{9E891F1E-6875-4812-ACD0-C456DB8467F3}" dt="2025-09-18T06:01:55.454" v="2310" actId="692"/>
          <ac:spMkLst>
            <pc:docMk/>
            <pc:sldMk cId="0" sldId="16772961"/>
            <ac:spMk id="3" creationId="{81BD2CC8-5AF4-CBDE-B7B8-3BA5DFF36E09}"/>
          </ac:spMkLst>
        </pc:spChg>
        <pc:spChg chg="add del">
          <ac:chgData name="he zhendong/0494938/何　振東" userId="022da341-ef73-48fb-bc20-f47322bbf998" providerId="ADAL" clId="{9E891F1E-6875-4812-ACD0-C456DB8467F3}" dt="2025-09-18T09:04:37.104" v="5631" actId="478"/>
          <ac:spMkLst>
            <pc:docMk/>
            <pc:sldMk cId="0" sldId="16772961"/>
            <ac:spMk id="6" creationId="{9835B429-8BA1-DFD9-8CD2-E95B5D18373C}"/>
          </ac:spMkLst>
        </pc:spChg>
        <pc:spChg chg="add mod">
          <ac:chgData name="he zhendong/0494938/何　振東" userId="022da341-ef73-48fb-bc20-f47322bbf998" providerId="ADAL" clId="{9E891F1E-6875-4812-ACD0-C456DB8467F3}" dt="2025-09-18T12:48:45.766" v="6647" actId="1038"/>
          <ac:spMkLst>
            <pc:docMk/>
            <pc:sldMk cId="0" sldId="16772961"/>
            <ac:spMk id="7" creationId="{0156BDFD-E0EA-04DE-E6E8-55BA3E349755}"/>
          </ac:spMkLst>
        </pc:spChg>
        <pc:spChg chg="mod">
          <ac:chgData name="he zhendong/0494938/何　振東" userId="022da341-ef73-48fb-bc20-f47322bbf998" providerId="ADAL" clId="{9E891F1E-6875-4812-ACD0-C456DB8467F3}" dt="2025-09-18T12:48:45.766" v="6647" actId="1038"/>
          <ac:spMkLst>
            <pc:docMk/>
            <pc:sldMk cId="0" sldId="16772961"/>
            <ac:spMk id="13" creationId="{20F437F9-F1E3-7A6E-D183-3524B7764422}"/>
          </ac:spMkLst>
        </pc:spChg>
        <pc:spChg chg="mod">
          <ac:chgData name="he zhendong/0494938/何　振東" userId="022da341-ef73-48fb-bc20-f47322bbf998" providerId="ADAL" clId="{9E891F1E-6875-4812-ACD0-C456DB8467F3}" dt="2025-09-18T12:48:45.766" v="6647" actId="1038"/>
          <ac:spMkLst>
            <pc:docMk/>
            <pc:sldMk cId="0" sldId="16772961"/>
            <ac:spMk id="14" creationId="{42AE617F-8791-7DF1-3A74-EE8EFFB19FB9}"/>
          </ac:spMkLst>
        </pc:spChg>
        <pc:spChg chg="add mod">
          <ac:chgData name="he zhendong/0494938/何　振東" userId="022da341-ef73-48fb-bc20-f47322bbf998" providerId="ADAL" clId="{9E891F1E-6875-4812-ACD0-C456DB8467F3}" dt="2025-09-18T09:09:21.578" v="5759" actId="113"/>
          <ac:spMkLst>
            <pc:docMk/>
            <pc:sldMk cId="0" sldId="16772961"/>
            <ac:spMk id="16" creationId="{3B2AFFD5-2193-A6D2-7ED0-36818492A140}"/>
          </ac:spMkLst>
        </pc:spChg>
        <pc:spChg chg="mod">
          <ac:chgData name="he zhendong/0494938/何　振東" userId="022da341-ef73-48fb-bc20-f47322bbf998" providerId="ADAL" clId="{9E891F1E-6875-4812-ACD0-C456DB8467F3}" dt="2025-09-18T12:48:45.766" v="6647" actId="1038"/>
          <ac:spMkLst>
            <pc:docMk/>
            <pc:sldMk cId="0" sldId="16772961"/>
            <ac:spMk id="22" creationId="{EB6975E9-868C-47F9-4909-53F9D70BFA82}"/>
          </ac:spMkLst>
        </pc:spChg>
        <pc:spChg chg="mod">
          <ac:chgData name="he zhendong/0494938/何　振東" userId="022da341-ef73-48fb-bc20-f47322bbf998" providerId="ADAL" clId="{9E891F1E-6875-4812-ACD0-C456DB8467F3}" dt="2025-09-18T05:20:22.680" v="1279" actId="255"/>
          <ac:spMkLst>
            <pc:docMk/>
            <pc:sldMk cId="0" sldId="16772961"/>
            <ac:spMk id="31" creationId="{8A4E1765-5EB8-9556-412C-EE2ACFBB11FA}"/>
          </ac:spMkLst>
        </pc:spChg>
        <pc:spChg chg="mod">
          <ac:chgData name="he zhendong/0494938/何　振東" userId="022da341-ef73-48fb-bc20-f47322bbf998" providerId="ADAL" clId="{9E891F1E-6875-4812-ACD0-C456DB8467F3}" dt="2025-09-18T12:48:45.766" v="6647" actId="1038"/>
          <ac:spMkLst>
            <pc:docMk/>
            <pc:sldMk cId="0" sldId="16772961"/>
            <ac:spMk id="32" creationId="{75D896C3-1B62-79A9-025B-DA7A49AFB8AE}"/>
          </ac:spMkLst>
        </pc:spChg>
        <pc:spChg chg="mod">
          <ac:chgData name="he zhendong/0494938/何　振東" userId="022da341-ef73-48fb-bc20-f47322bbf998" providerId="ADAL" clId="{9E891F1E-6875-4812-ACD0-C456DB8467F3}" dt="2025-09-18T12:48:45.766" v="6647" actId="1038"/>
          <ac:spMkLst>
            <pc:docMk/>
            <pc:sldMk cId="0" sldId="16772961"/>
            <ac:spMk id="33" creationId="{FDFB3CBF-574A-7598-3BE2-A3A922FB82C2}"/>
          </ac:spMkLst>
        </pc:spChg>
        <pc:spChg chg="mod">
          <ac:chgData name="he zhendong/0494938/何　振東" userId="022da341-ef73-48fb-bc20-f47322bbf998" providerId="ADAL" clId="{9E891F1E-6875-4812-ACD0-C456DB8467F3}" dt="2025-09-18T05:20:22.680" v="1279" actId="255"/>
          <ac:spMkLst>
            <pc:docMk/>
            <pc:sldMk cId="0" sldId="16772961"/>
            <ac:spMk id="34" creationId="{ADC1CB54-7557-F51B-A295-A98362CFC3C2}"/>
          </ac:spMkLst>
        </pc:spChg>
        <pc:spChg chg="mod">
          <ac:chgData name="he zhendong/0494938/何　振東" userId="022da341-ef73-48fb-bc20-f47322bbf998" providerId="ADAL" clId="{9E891F1E-6875-4812-ACD0-C456DB8467F3}" dt="2025-09-18T05:20:22.680" v="1279" actId="255"/>
          <ac:spMkLst>
            <pc:docMk/>
            <pc:sldMk cId="0" sldId="16772961"/>
            <ac:spMk id="36" creationId="{DF6ADFB0-EEC2-C0DF-C02A-46809441BAEA}"/>
          </ac:spMkLst>
        </pc:spChg>
        <pc:spChg chg="mod">
          <ac:chgData name="he zhendong/0494938/何　振東" userId="022da341-ef73-48fb-bc20-f47322bbf998" providerId="ADAL" clId="{9E891F1E-6875-4812-ACD0-C456DB8467F3}" dt="2025-09-18T05:20:22.680" v="1279" actId="255"/>
          <ac:spMkLst>
            <pc:docMk/>
            <pc:sldMk cId="0" sldId="16772961"/>
            <ac:spMk id="37" creationId="{4AABB290-6FE3-0414-F530-6FBE6D132164}"/>
          </ac:spMkLst>
        </pc:spChg>
        <pc:spChg chg="del">
          <ac:chgData name="he zhendong/0494938/何　振東" userId="022da341-ef73-48fb-bc20-f47322bbf998" providerId="ADAL" clId="{9E891F1E-6875-4812-ACD0-C456DB8467F3}" dt="2025-09-18T12:50:08.972" v="6650" actId="478"/>
          <ac:spMkLst>
            <pc:docMk/>
            <pc:sldMk cId="0" sldId="16772961"/>
            <ac:spMk id="39" creationId="{2CF6786F-A11A-BF24-ABCC-20C0AA894223}"/>
          </ac:spMkLst>
        </pc:spChg>
        <pc:spChg chg="mod">
          <ac:chgData name="he zhendong/0494938/何　振東" userId="022da341-ef73-48fb-bc20-f47322bbf998" providerId="ADAL" clId="{9E891F1E-6875-4812-ACD0-C456DB8467F3}" dt="2025-09-18T12:49:49.657" v="6648" actId="14100"/>
          <ac:spMkLst>
            <pc:docMk/>
            <pc:sldMk cId="0" sldId="16772961"/>
            <ac:spMk id="55" creationId="{4B115AEA-6E76-3FFE-8146-C00089B179C2}"/>
          </ac:spMkLst>
        </pc:spChg>
        <pc:spChg chg="mod">
          <ac:chgData name="he zhendong/0494938/何　振東" userId="022da341-ef73-48fb-bc20-f47322bbf998" providerId="ADAL" clId="{9E891F1E-6875-4812-ACD0-C456DB8467F3}" dt="2025-09-18T12:49:52.571" v="6649" actId="14100"/>
          <ac:spMkLst>
            <pc:docMk/>
            <pc:sldMk cId="0" sldId="16772961"/>
            <ac:spMk id="56" creationId="{0B36B7ED-11D3-ABA2-07F3-E5C3B6903DB8}"/>
          </ac:spMkLst>
        </pc:spChg>
        <pc:spChg chg="mod">
          <ac:chgData name="he zhendong/0494938/何　振東" userId="022da341-ef73-48fb-bc20-f47322bbf998" providerId="ADAL" clId="{9E891F1E-6875-4812-ACD0-C456DB8467F3}" dt="2025-09-18T12:48:45.766" v="6647" actId="1038"/>
          <ac:spMkLst>
            <pc:docMk/>
            <pc:sldMk cId="0" sldId="16772961"/>
            <ac:spMk id="58" creationId="{81417237-7BCD-B6EA-422F-3FC08177AC37}"/>
          </ac:spMkLst>
        </pc:spChg>
        <pc:spChg chg="mod">
          <ac:chgData name="he zhendong/0494938/何　振東" userId="022da341-ef73-48fb-bc20-f47322bbf998" providerId="ADAL" clId="{9E891F1E-6875-4812-ACD0-C456DB8467F3}" dt="2025-09-18T12:51:05.763" v="6654" actId="14100"/>
          <ac:spMkLst>
            <pc:docMk/>
            <pc:sldMk cId="0" sldId="16772961"/>
            <ac:spMk id="63" creationId="{5AB9770A-D1EA-5FD6-9999-322CC1586E80}"/>
          </ac:spMkLst>
        </pc:spChg>
        <pc:spChg chg="mod">
          <ac:chgData name="he zhendong/0494938/何　振東" userId="022da341-ef73-48fb-bc20-f47322bbf998" providerId="ADAL" clId="{9E891F1E-6875-4812-ACD0-C456DB8467F3}" dt="2025-09-18T12:50:59.690" v="6652" actId="14100"/>
          <ac:spMkLst>
            <pc:docMk/>
            <pc:sldMk cId="0" sldId="16772961"/>
            <ac:spMk id="65" creationId="{4B94B9BA-AB77-F1CD-5430-C55DE238BE62}"/>
          </ac:spMkLst>
        </pc:spChg>
        <pc:spChg chg="mod">
          <ac:chgData name="he zhendong/0494938/何　振東" userId="022da341-ef73-48fb-bc20-f47322bbf998" providerId="ADAL" clId="{9E891F1E-6875-4812-ACD0-C456DB8467F3}" dt="2025-09-18T12:48:45.766" v="6647" actId="1038"/>
          <ac:spMkLst>
            <pc:docMk/>
            <pc:sldMk cId="0" sldId="16772961"/>
            <ac:spMk id="67" creationId="{259D0577-A5C0-FE48-C7EE-6684D79BA595}"/>
          </ac:spMkLst>
        </pc:spChg>
        <pc:spChg chg="mod">
          <ac:chgData name="he zhendong/0494938/何　振東" userId="022da341-ef73-48fb-bc20-f47322bbf998" providerId="ADAL" clId="{9E891F1E-6875-4812-ACD0-C456DB8467F3}" dt="2025-09-18T05:20:22.680" v="1279" actId="255"/>
          <ac:spMkLst>
            <pc:docMk/>
            <pc:sldMk cId="0" sldId="16772961"/>
            <ac:spMk id="75" creationId="{0AABA1AE-3FCC-5B32-DB85-E4F452E1A67E}"/>
          </ac:spMkLst>
        </pc:spChg>
        <pc:graphicFrameChg chg="add del mod modGraphic">
          <ac:chgData name="he zhendong/0494938/何　振東" userId="022da341-ef73-48fb-bc20-f47322bbf998" providerId="ADAL" clId="{9E891F1E-6875-4812-ACD0-C456DB8467F3}" dt="2025-09-18T09:05:38.305" v="5646" actId="478"/>
          <ac:graphicFrameMkLst>
            <pc:docMk/>
            <pc:sldMk cId="0" sldId="16772961"/>
            <ac:graphicFrameMk id="8" creationId="{129760A7-B8D6-BB79-9734-803E92425A01}"/>
          </ac:graphicFrameMkLst>
        </pc:graphicFrameChg>
        <pc:graphicFrameChg chg="add mod modGraphic">
          <ac:chgData name="he zhendong/0494938/何　振東" userId="022da341-ef73-48fb-bc20-f47322bbf998" providerId="ADAL" clId="{9E891F1E-6875-4812-ACD0-C456DB8467F3}" dt="2025-09-18T09:08:18.845" v="5677" actId="1076"/>
          <ac:graphicFrameMkLst>
            <pc:docMk/>
            <pc:sldMk cId="0" sldId="16772961"/>
            <ac:graphicFrameMk id="9" creationId="{1B049202-C3C6-E6F7-1181-53CD19D188C8}"/>
          </ac:graphicFrameMkLst>
        </pc:graphicFrameChg>
        <pc:cxnChg chg="mod">
          <ac:chgData name="he zhendong/0494938/何　振東" userId="022da341-ef73-48fb-bc20-f47322bbf998" providerId="ADAL" clId="{9E891F1E-6875-4812-ACD0-C456DB8467F3}" dt="2025-09-18T05:19:38.098" v="1272" actId="1038"/>
          <ac:cxnSpMkLst>
            <pc:docMk/>
            <pc:sldMk cId="0" sldId="16772961"/>
            <ac:cxnSpMk id="27" creationId="{226E2F55-DA54-8165-0877-CB3D3DD429F4}"/>
          </ac:cxnSpMkLst>
        </pc:cxnChg>
      </pc:sldChg>
      <pc:sldChg chg="delSp modSp mod">
        <pc:chgData name="he zhendong/0494938/何　振東" userId="022da341-ef73-48fb-bc20-f47322bbf998" providerId="ADAL" clId="{9E891F1E-6875-4812-ACD0-C456DB8467F3}" dt="2025-09-18T15:05:27.083" v="6660" actId="1076"/>
        <pc:sldMkLst>
          <pc:docMk/>
          <pc:sldMk cId="0" sldId="16772962"/>
        </pc:sldMkLst>
        <pc:spChg chg="del">
          <ac:chgData name="he zhendong/0494938/何　振東" userId="022da341-ef73-48fb-bc20-f47322bbf998" providerId="ADAL" clId="{9E891F1E-6875-4812-ACD0-C456DB8467F3}" dt="2025-09-18T07:28:24.023" v="2409" actId="478"/>
          <ac:spMkLst>
            <pc:docMk/>
            <pc:sldMk cId="0" sldId="16772962"/>
            <ac:spMk id="4" creationId="{00000000-0000-0000-0000-000000000000}"/>
          </ac:spMkLst>
        </pc:spChg>
        <pc:spChg chg="mod">
          <ac:chgData name="he zhendong/0494938/何　振東" userId="022da341-ef73-48fb-bc20-f47322bbf998" providerId="ADAL" clId="{9E891F1E-6875-4812-ACD0-C456DB8467F3}" dt="2025-09-18T15:05:20.483" v="6659" actId="1076"/>
          <ac:spMkLst>
            <pc:docMk/>
            <pc:sldMk cId="0" sldId="16772962"/>
            <ac:spMk id="5" creationId="{5F2B4342-4843-AA7D-BBBC-EEDC3E1CB57B}"/>
          </ac:spMkLst>
        </pc:spChg>
        <pc:graphicFrameChg chg="mod modGraphic">
          <ac:chgData name="he zhendong/0494938/何　振東" userId="022da341-ef73-48fb-bc20-f47322bbf998" providerId="ADAL" clId="{9E891F1E-6875-4812-ACD0-C456DB8467F3}" dt="2025-09-18T15:05:27.083" v="6660" actId="1076"/>
          <ac:graphicFrameMkLst>
            <pc:docMk/>
            <pc:sldMk cId="0" sldId="16772962"/>
            <ac:graphicFrameMk id="8" creationId="{EA5FED8C-15C3-BBF2-E85B-99DBE2ED9970}"/>
          </ac:graphicFrameMkLst>
        </pc:graphicFrameChg>
      </pc:sldChg>
      <pc:sldChg chg="modSp mod">
        <pc:chgData name="he zhendong/0494938/何　振東" userId="022da341-ef73-48fb-bc20-f47322bbf998" providerId="ADAL" clId="{9E891F1E-6875-4812-ACD0-C456DB8467F3}" dt="2025-09-18T09:25:02.236" v="6524" actId="20577"/>
        <pc:sldMkLst>
          <pc:docMk/>
          <pc:sldMk cId="0" sldId="16772963"/>
        </pc:sldMkLst>
        <pc:spChg chg="mod">
          <ac:chgData name="he zhendong/0494938/何　振東" userId="022da341-ef73-48fb-bc20-f47322bbf998" providerId="ADAL" clId="{9E891F1E-6875-4812-ACD0-C456DB8467F3}" dt="2025-09-18T09:25:02.236" v="6524" actId="20577"/>
          <ac:spMkLst>
            <pc:docMk/>
            <pc:sldMk cId="0" sldId="16772963"/>
            <ac:spMk id="15" creationId="{00000000-0000-0000-0000-000000000000}"/>
          </ac:spMkLst>
        </pc:spChg>
      </pc:sldChg>
      <pc:sldChg chg="addSp delSp modSp mod modClrScheme chgLayout">
        <pc:chgData name="he zhendong/0494938/何　振東" userId="022da341-ef73-48fb-bc20-f47322bbf998" providerId="ADAL" clId="{9E891F1E-6875-4812-ACD0-C456DB8467F3}" dt="2025-09-18T05:57:40.154" v="2268" actId="700"/>
        <pc:sldMkLst>
          <pc:docMk/>
          <pc:sldMk cId="0" sldId="16772966"/>
        </pc:sldMkLst>
        <pc:spChg chg="add mod ord">
          <ac:chgData name="he zhendong/0494938/何　振東" userId="022da341-ef73-48fb-bc20-f47322bbf998" providerId="ADAL" clId="{9E891F1E-6875-4812-ACD0-C456DB8467F3}" dt="2025-09-18T05:57:40.154" v="2268" actId="700"/>
          <ac:spMkLst>
            <pc:docMk/>
            <pc:sldMk cId="0" sldId="16772966"/>
            <ac:spMk id="2" creationId="{EDCC7EBC-091F-22E7-1716-7E345DA138F8}"/>
          </ac:spMkLst>
        </pc:spChg>
        <pc:spChg chg="mod ord">
          <ac:chgData name="he zhendong/0494938/何　振東" userId="022da341-ef73-48fb-bc20-f47322bbf998" providerId="ADAL" clId="{9E891F1E-6875-4812-ACD0-C456DB8467F3}" dt="2025-09-18T05:57:40.154" v="2268" actId="700"/>
          <ac:spMkLst>
            <pc:docMk/>
            <pc:sldMk cId="0" sldId="16772966"/>
            <ac:spMk id="4" creationId="{00000000-0000-0000-0000-000000000000}"/>
          </ac:spMkLst>
        </pc:spChg>
        <pc:spChg chg="del mod ord">
          <ac:chgData name="he zhendong/0494938/何　振東" userId="022da341-ef73-48fb-bc20-f47322bbf998" providerId="ADAL" clId="{9E891F1E-6875-4812-ACD0-C456DB8467F3}" dt="2025-09-18T05:57:40.154" v="2268" actId="700"/>
          <ac:spMkLst>
            <pc:docMk/>
            <pc:sldMk cId="0" sldId="16772966"/>
            <ac:spMk id="5" creationId="{00000000-0000-0000-0000-000000000000}"/>
          </ac:spMkLst>
        </pc:spChg>
        <pc:spChg chg="del">
          <ac:chgData name="he zhendong/0494938/何　振東" userId="022da341-ef73-48fb-bc20-f47322bbf998" providerId="ADAL" clId="{9E891F1E-6875-4812-ACD0-C456DB8467F3}" dt="2025-09-18T05:57:40.154" v="2268" actId="700"/>
          <ac:spMkLst>
            <pc:docMk/>
            <pc:sldMk cId="0" sldId="16772966"/>
            <ac:spMk id="6" creationId="{00000000-0000-0000-0000-000000000000}"/>
          </ac:spMkLst>
        </pc:spChg>
      </pc:sldChg>
      <pc:sldChg chg="addSp delSp modSp mod">
        <pc:chgData name="he zhendong/0494938/何　振東" userId="022da341-ef73-48fb-bc20-f47322bbf998" providerId="ADAL" clId="{9E891F1E-6875-4812-ACD0-C456DB8467F3}" dt="2025-09-18T12:23:43.011" v="6551" actId="6549"/>
        <pc:sldMkLst>
          <pc:docMk/>
          <pc:sldMk cId="0" sldId="16772967"/>
        </pc:sldMkLst>
        <pc:spChg chg="mod">
          <ac:chgData name="he zhendong/0494938/何　振東" userId="022da341-ef73-48fb-bc20-f47322bbf998" providerId="ADAL" clId="{9E891F1E-6875-4812-ACD0-C456DB8467F3}" dt="2025-09-18T08:44:26.056" v="4401" actId="1037"/>
          <ac:spMkLst>
            <pc:docMk/>
            <pc:sldMk cId="0" sldId="16772967"/>
            <ac:spMk id="4" creationId="{FD7B7C3B-F900-354F-5A92-A3A6BE4F20E4}"/>
          </ac:spMkLst>
        </pc:spChg>
        <pc:spChg chg="mod">
          <ac:chgData name="he zhendong/0494938/何　振東" userId="022da341-ef73-48fb-bc20-f47322bbf998" providerId="ADAL" clId="{9E891F1E-6875-4812-ACD0-C456DB8467F3}" dt="2025-09-18T08:23:03.966" v="3971" actId="14100"/>
          <ac:spMkLst>
            <pc:docMk/>
            <pc:sldMk cId="0" sldId="16772967"/>
            <ac:spMk id="5" creationId="{6C29B304-7A3F-09EF-C13B-7D77794E56F3}"/>
          </ac:spMkLst>
        </pc:spChg>
        <pc:spChg chg="add del mod">
          <ac:chgData name="he zhendong/0494938/何　振東" userId="022da341-ef73-48fb-bc20-f47322bbf998" providerId="ADAL" clId="{9E891F1E-6875-4812-ACD0-C456DB8467F3}" dt="2025-09-18T08:23:17.618" v="3973" actId="478"/>
          <ac:spMkLst>
            <pc:docMk/>
            <pc:sldMk cId="0" sldId="16772967"/>
            <ac:spMk id="6" creationId="{7D1EE383-16C5-CD25-4DF2-4A95BAA26D5E}"/>
          </ac:spMkLst>
        </pc:spChg>
        <pc:spChg chg="del">
          <ac:chgData name="he zhendong/0494938/何　振東" userId="022da341-ef73-48fb-bc20-f47322bbf998" providerId="ADAL" clId="{9E891F1E-6875-4812-ACD0-C456DB8467F3}" dt="2025-09-18T08:23:23.514" v="3975" actId="478"/>
          <ac:spMkLst>
            <pc:docMk/>
            <pc:sldMk cId="0" sldId="16772967"/>
            <ac:spMk id="7" creationId="{7F1288D6-17CF-7F26-7B7C-6F1904821208}"/>
          </ac:spMkLst>
        </pc:spChg>
        <pc:spChg chg="add del mod">
          <ac:chgData name="he zhendong/0494938/何　振東" userId="022da341-ef73-48fb-bc20-f47322bbf998" providerId="ADAL" clId="{9E891F1E-6875-4812-ACD0-C456DB8467F3}" dt="2025-09-18T08:23:14.544" v="3972" actId="478"/>
          <ac:spMkLst>
            <pc:docMk/>
            <pc:sldMk cId="0" sldId="16772967"/>
            <ac:spMk id="8" creationId="{CADC1762-8DF9-2C28-4F91-82C359620445}"/>
          </ac:spMkLst>
        </pc:spChg>
        <pc:spChg chg="del">
          <ac:chgData name="he zhendong/0494938/何　振東" userId="022da341-ef73-48fb-bc20-f47322bbf998" providerId="ADAL" clId="{9E891F1E-6875-4812-ACD0-C456DB8467F3}" dt="2025-09-18T08:21:48.132" v="3894" actId="478"/>
          <ac:spMkLst>
            <pc:docMk/>
            <pc:sldMk cId="0" sldId="16772967"/>
            <ac:spMk id="9" creationId="{C57500BA-5918-F921-1451-66B2E909CFCD}"/>
          </ac:spMkLst>
        </pc:spChg>
        <pc:spChg chg="del">
          <ac:chgData name="he zhendong/0494938/何　振東" userId="022da341-ef73-48fb-bc20-f47322bbf998" providerId="ADAL" clId="{9E891F1E-6875-4812-ACD0-C456DB8467F3}" dt="2025-09-18T08:21:48.132" v="3894" actId="478"/>
          <ac:spMkLst>
            <pc:docMk/>
            <pc:sldMk cId="0" sldId="16772967"/>
            <ac:spMk id="10" creationId="{A33B08A8-E086-F95A-F07D-920E52B64272}"/>
          </ac:spMkLst>
        </pc:spChg>
        <pc:spChg chg="mod">
          <ac:chgData name="he zhendong/0494938/何　振東" userId="022da341-ef73-48fb-bc20-f47322bbf998" providerId="ADAL" clId="{9E891F1E-6875-4812-ACD0-C456DB8467F3}" dt="2025-09-18T08:26:09.863" v="4148" actId="14100"/>
          <ac:spMkLst>
            <pc:docMk/>
            <pc:sldMk cId="0" sldId="16772967"/>
            <ac:spMk id="11" creationId="{35698CB4-E2D6-2A48-32D6-594CFE09BAB9}"/>
          </ac:spMkLst>
        </pc:spChg>
        <pc:spChg chg="mod">
          <ac:chgData name="he zhendong/0494938/何　振東" userId="022da341-ef73-48fb-bc20-f47322bbf998" providerId="ADAL" clId="{9E891F1E-6875-4812-ACD0-C456DB8467F3}" dt="2025-09-18T08:35:21.383" v="4235" actId="12789"/>
          <ac:spMkLst>
            <pc:docMk/>
            <pc:sldMk cId="0" sldId="16772967"/>
            <ac:spMk id="14" creationId="{C619B2BD-96F3-7969-74B0-FBF772A968C3}"/>
          </ac:spMkLst>
        </pc:spChg>
        <pc:spChg chg="mod">
          <ac:chgData name="he zhendong/0494938/何　振東" userId="022da341-ef73-48fb-bc20-f47322bbf998" providerId="ADAL" clId="{9E891F1E-6875-4812-ACD0-C456DB8467F3}" dt="2025-09-18T08:59:55.305" v="5466" actId="20577"/>
          <ac:spMkLst>
            <pc:docMk/>
            <pc:sldMk cId="0" sldId="16772967"/>
            <ac:spMk id="15" creationId="{00000000-0000-0000-0000-000000000000}"/>
          </ac:spMkLst>
        </pc:spChg>
        <pc:spChg chg="mod">
          <ac:chgData name="he zhendong/0494938/何　振東" userId="022da341-ef73-48fb-bc20-f47322bbf998" providerId="ADAL" clId="{9E891F1E-6875-4812-ACD0-C456DB8467F3}" dt="2025-09-18T08:40:37.720" v="4362" actId="1038"/>
          <ac:spMkLst>
            <pc:docMk/>
            <pc:sldMk cId="0" sldId="16772967"/>
            <ac:spMk id="16" creationId="{4F9C7350-8C5D-89A3-92DB-F76D9AF22889}"/>
          </ac:spMkLst>
        </pc:spChg>
        <pc:spChg chg="mod">
          <ac:chgData name="he zhendong/0494938/何　振東" userId="022da341-ef73-48fb-bc20-f47322bbf998" providerId="ADAL" clId="{9E891F1E-6875-4812-ACD0-C456DB8467F3}" dt="2025-09-18T08:44:26.056" v="4401" actId="1037"/>
          <ac:spMkLst>
            <pc:docMk/>
            <pc:sldMk cId="0" sldId="16772967"/>
            <ac:spMk id="17" creationId="{3186FC23-8812-E63C-825D-E93E9D1DD8DA}"/>
          </ac:spMkLst>
        </pc:spChg>
        <pc:spChg chg="add del mod">
          <ac:chgData name="he zhendong/0494938/何　振東" userId="022da341-ef73-48fb-bc20-f47322bbf998" providerId="ADAL" clId="{9E891F1E-6875-4812-ACD0-C456DB8467F3}" dt="2025-09-18T08:21:48.132" v="3894" actId="478"/>
          <ac:spMkLst>
            <pc:docMk/>
            <pc:sldMk cId="0" sldId="16772967"/>
            <ac:spMk id="18" creationId="{10799D13-FB62-A2E6-A357-E7F637B093F6}"/>
          </ac:spMkLst>
        </pc:spChg>
        <pc:spChg chg="mod ord">
          <ac:chgData name="he zhendong/0494938/何　振東" userId="022da341-ef73-48fb-bc20-f47322bbf998" providerId="ADAL" clId="{9E891F1E-6875-4812-ACD0-C456DB8467F3}" dt="2025-09-18T08:26:48.502" v="4187" actId="166"/>
          <ac:spMkLst>
            <pc:docMk/>
            <pc:sldMk cId="0" sldId="16772967"/>
            <ac:spMk id="19" creationId="{C33C9F49-7C0B-A526-21E9-DCD4A14C952D}"/>
          </ac:spMkLst>
        </pc:spChg>
        <pc:spChg chg="add mod">
          <ac:chgData name="he zhendong/0494938/何　振東" userId="022da341-ef73-48fb-bc20-f47322bbf998" providerId="ADAL" clId="{9E891F1E-6875-4812-ACD0-C456DB8467F3}" dt="2025-09-18T08:34:57.490" v="4232" actId="1035"/>
          <ac:spMkLst>
            <pc:docMk/>
            <pc:sldMk cId="0" sldId="16772967"/>
            <ac:spMk id="20" creationId="{EF1FCE24-8F04-1445-02A7-C0675E828A81}"/>
          </ac:spMkLst>
        </pc:spChg>
        <pc:spChg chg="add del mod">
          <ac:chgData name="he zhendong/0494938/何　振東" userId="022da341-ef73-48fb-bc20-f47322bbf998" providerId="ADAL" clId="{9E891F1E-6875-4812-ACD0-C456DB8467F3}" dt="2025-09-18T08:22:25.256" v="3944" actId="478"/>
          <ac:spMkLst>
            <pc:docMk/>
            <pc:sldMk cId="0" sldId="16772967"/>
            <ac:spMk id="21" creationId="{56BEBBCA-5EAB-D7D0-5B95-146B2C956D62}"/>
          </ac:spMkLst>
        </pc:spChg>
        <pc:spChg chg="del">
          <ac:chgData name="he zhendong/0494938/何　振東" userId="022da341-ef73-48fb-bc20-f47322bbf998" providerId="ADAL" clId="{9E891F1E-6875-4812-ACD0-C456DB8467F3}" dt="2025-09-18T08:21:48.132" v="3894" actId="478"/>
          <ac:spMkLst>
            <pc:docMk/>
            <pc:sldMk cId="0" sldId="16772967"/>
            <ac:spMk id="22" creationId="{276172D1-24EF-E595-1469-30918F2F41D4}"/>
          </ac:spMkLst>
        </pc:spChg>
        <pc:spChg chg="mod">
          <ac:chgData name="he zhendong/0494938/何　振東" userId="022da341-ef73-48fb-bc20-f47322bbf998" providerId="ADAL" clId="{9E891F1E-6875-4812-ACD0-C456DB8467F3}" dt="2025-09-18T08:40:37.720" v="4362" actId="1038"/>
          <ac:spMkLst>
            <pc:docMk/>
            <pc:sldMk cId="0" sldId="16772967"/>
            <ac:spMk id="26" creationId="{D87EEE08-DCA0-0224-A834-F844C15ADB88}"/>
          </ac:spMkLst>
        </pc:spChg>
        <pc:spChg chg="del">
          <ac:chgData name="he zhendong/0494938/何　振東" userId="022da341-ef73-48fb-bc20-f47322bbf998" providerId="ADAL" clId="{9E891F1E-6875-4812-ACD0-C456DB8467F3}" dt="2025-09-18T08:21:48.132" v="3894" actId="478"/>
          <ac:spMkLst>
            <pc:docMk/>
            <pc:sldMk cId="0" sldId="16772967"/>
            <ac:spMk id="32" creationId="{5D0CB7AA-7A0A-97A0-8044-7AF4E22548E4}"/>
          </ac:spMkLst>
        </pc:spChg>
        <pc:spChg chg="del">
          <ac:chgData name="he zhendong/0494938/何　振東" userId="022da341-ef73-48fb-bc20-f47322bbf998" providerId="ADAL" clId="{9E891F1E-6875-4812-ACD0-C456DB8467F3}" dt="2025-09-18T08:21:48.132" v="3894" actId="478"/>
          <ac:spMkLst>
            <pc:docMk/>
            <pc:sldMk cId="0" sldId="16772967"/>
            <ac:spMk id="33" creationId="{688D756C-B1E7-B89F-AA79-ACAF86290586}"/>
          </ac:spMkLst>
        </pc:spChg>
        <pc:spChg chg="del">
          <ac:chgData name="he zhendong/0494938/何　振東" userId="022da341-ef73-48fb-bc20-f47322bbf998" providerId="ADAL" clId="{9E891F1E-6875-4812-ACD0-C456DB8467F3}" dt="2025-09-18T08:21:48.132" v="3894" actId="478"/>
          <ac:spMkLst>
            <pc:docMk/>
            <pc:sldMk cId="0" sldId="16772967"/>
            <ac:spMk id="34" creationId="{85828890-F1FA-3FCD-4BBA-A891C470E02C}"/>
          </ac:spMkLst>
        </pc:spChg>
        <pc:spChg chg="add mod">
          <ac:chgData name="he zhendong/0494938/何　振東" userId="022da341-ef73-48fb-bc20-f47322bbf998" providerId="ADAL" clId="{9E891F1E-6875-4812-ACD0-C456DB8467F3}" dt="2025-09-18T08:44:26.056" v="4401" actId="1037"/>
          <ac:spMkLst>
            <pc:docMk/>
            <pc:sldMk cId="0" sldId="16772967"/>
            <ac:spMk id="38" creationId="{20EF2802-EBB0-9D14-50D5-BD230FB16E81}"/>
          </ac:spMkLst>
        </pc:spChg>
        <pc:spChg chg="del">
          <ac:chgData name="he zhendong/0494938/何　振東" userId="022da341-ef73-48fb-bc20-f47322bbf998" providerId="ADAL" clId="{9E891F1E-6875-4812-ACD0-C456DB8467F3}" dt="2025-09-18T08:23:14.544" v="3972" actId="478"/>
          <ac:spMkLst>
            <pc:docMk/>
            <pc:sldMk cId="0" sldId="16772967"/>
            <ac:spMk id="39" creationId="{6147C24C-FE0A-5E6A-BAA3-EDF7DB122521}"/>
          </ac:spMkLst>
        </pc:spChg>
        <pc:spChg chg="add del">
          <ac:chgData name="he zhendong/0494938/何　振東" userId="022da341-ef73-48fb-bc20-f47322bbf998" providerId="ADAL" clId="{9E891F1E-6875-4812-ACD0-C456DB8467F3}" dt="2025-09-18T08:25:00.439" v="3989" actId="478"/>
          <ac:spMkLst>
            <pc:docMk/>
            <pc:sldMk cId="0" sldId="16772967"/>
            <ac:spMk id="42" creationId="{43BE6F8C-619B-0BBF-ECB8-2622EA61D253}"/>
          </ac:spMkLst>
        </pc:spChg>
        <pc:spChg chg="mod">
          <ac:chgData name="he zhendong/0494938/何　振東" userId="022da341-ef73-48fb-bc20-f47322bbf998" providerId="ADAL" clId="{9E891F1E-6875-4812-ACD0-C456DB8467F3}" dt="2025-09-18T08:34:22.605" v="4189" actId="14100"/>
          <ac:spMkLst>
            <pc:docMk/>
            <pc:sldMk cId="0" sldId="16772967"/>
            <ac:spMk id="44" creationId="{DE5AEA04-EC2F-281D-F0B5-532542F90ABB}"/>
          </ac:spMkLst>
        </pc:spChg>
        <pc:spChg chg="add mod">
          <ac:chgData name="he zhendong/0494938/何　振東" userId="022da341-ef73-48fb-bc20-f47322bbf998" providerId="ADAL" clId="{9E891F1E-6875-4812-ACD0-C456DB8467F3}" dt="2025-09-18T08:25:49.658" v="4144" actId="1038"/>
          <ac:spMkLst>
            <pc:docMk/>
            <pc:sldMk cId="0" sldId="16772967"/>
            <ac:spMk id="45" creationId="{77751E55-859F-58C0-6B2F-B1F341C9D7ED}"/>
          </ac:spMkLst>
        </pc:spChg>
        <pc:spChg chg="mod">
          <ac:chgData name="he zhendong/0494938/何　振東" userId="022da341-ef73-48fb-bc20-f47322bbf998" providerId="ADAL" clId="{9E891F1E-6875-4812-ACD0-C456DB8467F3}" dt="2025-09-18T08:44:26.056" v="4401" actId="1037"/>
          <ac:spMkLst>
            <pc:docMk/>
            <pc:sldMk cId="0" sldId="16772967"/>
            <ac:spMk id="46" creationId="{018BD0A1-CEB9-21DD-5B28-2DE99F8FDC1A}"/>
          </ac:spMkLst>
        </pc:spChg>
        <pc:spChg chg="del">
          <ac:chgData name="he zhendong/0494938/何　振東" userId="022da341-ef73-48fb-bc20-f47322bbf998" providerId="ADAL" clId="{9E891F1E-6875-4812-ACD0-C456DB8467F3}" dt="2025-09-18T08:38:10.699" v="4309" actId="478"/>
          <ac:spMkLst>
            <pc:docMk/>
            <pc:sldMk cId="0" sldId="16772967"/>
            <ac:spMk id="48" creationId="{B5F59BA3-FBDA-CC77-F83D-186881568A80}"/>
          </ac:spMkLst>
        </pc:spChg>
        <pc:spChg chg="mod">
          <ac:chgData name="he zhendong/0494938/何　振東" userId="022da341-ef73-48fb-bc20-f47322bbf998" providerId="ADAL" clId="{9E891F1E-6875-4812-ACD0-C456DB8467F3}" dt="2025-09-18T08:44:26.056" v="4401" actId="1037"/>
          <ac:spMkLst>
            <pc:docMk/>
            <pc:sldMk cId="0" sldId="16772967"/>
            <ac:spMk id="49" creationId="{970617A0-69DF-6A58-69A8-8DD19417D1EC}"/>
          </ac:spMkLst>
        </pc:spChg>
        <pc:spChg chg="add mod">
          <ac:chgData name="he zhendong/0494938/何　振東" userId="022da341-ef73-48fb-bc20-f47322bbf998" providerId="ADAL" clId="{9E891F1E-6875-4812-ACD0-C456DB8467F3}" dt="2025-09-18T08:44:26.056" v="4401" actId="1037"/>
          <ac:spMkLst>
            <pc:docMk/>
            <pc:sldMk cId="0" sldId="16772967"/>
            <ac:spMk id="50" creationId="{57FB4B99-EB80-1D68-8E2D-CF0381CFC192}"/>
          </ac:spMkLst>
        </pc:spChg>
        <pc:spChg chg="mod">
          <ac:chgData name="he zhendong/0494938/何　振東" userId="022da341-ef73-48fb-bc20-f47322bbf998" providerId="ADAL" clId="{9E891F1E-6875-4812-ACD0-C456DB8467F3}" dt="2025-09-18T08:34:57.490" v="4232" actId="1035"/>
          <ac:spMkLst>
            <pc:docMk/>
            <pc:sldMk cId="0" sldId="16772967"/>
            <ac:spMk id="52" creationId="{F7A1DDF0-E55C-E11C-C97B-E4BE12900487}"/>
          </ac:spMkLst>
        </pc:spChg>
        <pc:spChg chg="add del mod">
          <ac:chgData name="he zhendong/0494938/何　振東" userId="022da341-ef73-48fb-bc20-f47322bbf998" providerId="ADAL" clId="{9E891F1E-6875-4812-ACD0-C456DB8467F3}" dt="2025-09-18T08:24:21.248" v="3984" actId="478"/>
          <ac:spMkLst>
            <pc:docMk/>
            <pc:sldMk cId="0" sldId="16772967"/>
            <ac:spMk id="59" creationId="{3A1A9F74-752F-9676-BF33-6EBE11145B30}"/>
          </ac:spMkLst>
        </pc:spChg>
        <pc:spChg chg="del">
          <ac:chgData name="he zhendong/0494938/何　振東" userId="022da341-ef73-48fb-bc20-f47322bbf998" providerId="ADAL" clId="{9E891F1E-6875-4812-ACD0-C456DB8467F3}" dt="2025-09-18T08:21:48.132" v="3894" actId="478"/>
          <ac:spMkLst>
            <pc:docMk/>
            <pc:sldMk cId="0" sldId="16772967"/>
            <ac:spMk id="60" creationId="{A44C240B-99BF-DC43-6C5B-3C46B8196061}"/>
          </ac:spMkLst>
        </pc:spChg>
        <pc:spChg chg="del">
          <ac:chgData name="he zhendong/0494938/何　振東" userId="022da341-ef73-48fb-bc20-f47322bbf998" providerId="ADAL" clId="{9E891F1E-6875-4812-ACD0-C456DB8467F3}" dt="2025-09-18T08:21:48.132" v="3894" actId="478"/>
          <ac:spMkLst>
            <pc:docMk/>
            <pc:sldMk cId="0" sldId="16772967"/>
            <ac:spMk id="61" creationId="{65FB0837-7167-8973-3D72-80F256E77649}"/>
          </ac:spMkLst>
        </pc:spChg>
        <pc:spChg chg="del">
          <ac:chgData name="he zhendong/0494938/何　振東" userId="022da341-ef73-48fb-bc20-f47322bbf998" providerId="ADAL" clId="{9E891F1E-6875-4812-ACD0-C456DB8467F3}" dt="2025-09-18T08:21:48.132" v="3894" actId="478"/>
          <ac:spMkLst>
            <pc:docMk/>
            <pc:sldMk cId="0" sldId="16772967"/>
            <ac:spMk id="62" creationId="{27E27587-69DB-49B1-7316-217118F78F95}"/>
          </ac:spMkLst>
        </pc:spChg>
        <pc:spChg chg="del">
          <ac:chgData name="he zhendong/0494938/何　振東" userId="022da341-ef73-48fb-bc20-f47322bbf998" providerId="ADAL" clId="{9E891F1E-6875-4812-ACD0-C456DB8467F3}" dt="2025-09-18T08:22:43.142" v="3955" actId="478"/>
          <ac:spMkLst>
            <pc:docMk/>
            <pc:sldMk cId="0" sldId="16772967"/>
            <ac:spMk id="63" creationId="{D60AB718-E842-73AE-D666-4B2526D927BD}"/>
          </ac:spMkLst>
        </pc:spChg>
        <pc:spChg chg="del">
          <ac:chgData name="he zhendong/0494938/何　振東" userId="022da341-ef73-48fb-bc20-f47322bbf998" providerId="ADAL" clId="{9E891F1E-6875-4812-ACD0-C456DB8467F3}" dt="2025-09-18T08:23:53.361" v="3979" actId="478"/>
          <ac:spMkLst>
            <pc:docMk/>
            <pc:sldMk cId="0" sldId="16772967"/>
            <ac:spMk id="64" creationId="{F0FECF35-6556-3A84-A85A-316920327CA1}"/>
          </ac:spMkLst>
        </pc:spChg>
        <pc:spChg chg="mod">
          <ac:chgData name="he zhendong/0494938/何　振東" userId="022da341-ef73-48fb-bc20-f47322bbf998" providerId="ADAL" clId="{9E891F1E-6875-4812-ACD0-C456DB8467F3}" dt="2025-09-18T08:44:26.056" v="4401" actId="1037"/>
          <ac:spMkLst>
            <pc:docMk/>
            <pc:sldMk cId="0" sldId="16772967"/>
            <ac:spMk id="66" creationId="{729ACF5A-6C08-9321-59AC-2A95FA462070}"/>
          </ac:spMkLst>
        </pc:spChg>
        <pc:spChg chg="mod">
          <ac:chgData name="he zhendong/0494938/何　振東" userId="022da341-ef73-48fb-bc20-f47322bbf998" providerId="ADAL" clId="{9E891F1E-6875-4812-ACD0-C456DB8467F3}" dt="2025-09-18T08:44:26.056" v="4401" actId="1037"/>
          <ac:spMkLst>
            <pc:docMk/>
            <pc:sldMk cId="0" sldId="16772967"/>
            <ac:spMk id="67" creationId="{0159BF61-3FDE-05DE-EC82-2289BBED6EF8}"/>
          </ac:spMkLst>
        </pc:spChg>
        <pc:spChg chg="del">
          <ac:chgData name="he zhendong/0494938/何　振東" userId="022da341-ef73-48fb-bc20-f47322bbf998" providerId="ADAL" clId="{9E891F1E-6875-4812-ACD0-C456DB8467F3}" dt="2025-09-18T08:23:14.544" v="3972" actId="478"/>
          <ac:spMkLst>
            <pc:docMk/>
            <pc:sldMk cId="0" sldId="16772967"/>
            <ac:spMk id="68" creationId="{1438B89A-5822-DD47-F072-1B947F8D6298}"/>
          </ac:spMkLst>
        </pc:spChg>
        <pc:spChg chg="del">
          <ac:chgData name="he zhendong/0494938/何　振東" userId="022da341-ef73-48fb-bc20-f47322bbf998" providerId="ADAL" clId="{9E891F1E-6875-4812-ACD0-C456DB8467F3}" dt="2025-09-18T08:22:38.976" v="3954" actId="478"/>
          <ac:spMkLst>
            <pc:docMk/>
            <pc:sldMk cId="0" sldId="16772967"/>
            <ac:spMk id="70" creationId="{666F27B6-AA2D-A8A4-3ADE-5CB91D86A1CD}"/>
          </ac:spMkLst>
        </pc:spChg>
        <pc:spChg chg="del">
          <ac:chgData name="he zhendong/0494938/何　振東" userId="022da341-ef73-48fb-bc20-f47322bbf998" providerId="ADAL" clId="{9E891F1E-6875-4812-ACD0-C456DB8467F3}" dt="2025-09-18T08:22:38.103" v="3953" actId="478"/>
          <ac:spMkLst>
            <pc:docMk/>
            <pc:sldMk cId="0" sldId="16772967"/>
            <ac:spMk id="71" creationId="{A2ABED4D-BB96-53F9-291D-28ECCC5A9F50}"/>
          </ac:spMkLst>
        </pc:spChg>
        <pc:spChg chg="mod">
          <ac:chgData name="he zhendong/0494938/何　振東" userId="022da341-ef73-48fb-bc20-f47322bbf998" providerId="ADAL" clId="{9E891F1E-6875-4812-ACD0-C456DB8467F3}" dt="2025-09-18T12:23:43.011" v="6551" actId="6549"/>
          <ac:spMkLst>
            <pc:docMk/>
            <pc:sldMk cId="0" sldId="16772967"/>
            <ac:spMk id="72" creationId="{45CC9BA9-20E2-E49C-E046-3B3B031AC814}"/>
          </ac:spMkLst>
        </pc:spChg>
        <pc:spChg chg="del">
          <ac:chgData name="he zhendong/0494938/何　振東" userId="022da341-ef73-48fb-bc20-f47322bbf998" providerId="ADAL" clId="{9E891F1E-6875-4812-ACD0-C456DB8467F3}" dt="2025-09-18T08:25:15.515" v="4017" actId="478"/>
          <ac:spMkLst>
            <pc:docMk/>
            <pc:sldMk cId="0" sldId="16772967"/>
            <ac:spMk id="73" creationId="{89FA8172-F1DC-B153-DB7A-8D0EFA0148C7}"/>
          </ac:spMkLst>
        </pc:spChg>
        <pc:spChg chg="mod">
          <ac:chgData name="he zhendong/0494938/何　振東" userId="022da341-ef73-48fb-bc20-f47322bbf998" providerId="ADAL" clId="{9E891F1E-6875-4812-ACD0-C456DB8467F3}" dt="2025-09-18T08:36:15.940" v="4244" actId="1076"/>
          <ac:spMkLst>
            <pc:docMk/>
            <pc:sldMk cId="0" sldId="16772967"/>
            <ac:spMk id="74" creationId="{E4BF100E-DCF3-6932-F379-D576C6718375}"/>
          </ac:spMkLst>
        </pc:spChg>
        <pc:spChg chg="add del mod">
          <ac:chgData name="he zhendong/0494938/何　振東" userId="022da341-ef73-48fb-bc20-f47322bbf998" providerId="ADAL" clId="{9E891F1E-6875-4812-ACD0-C456DB8467F3}" dt="2025-09-18T08:25:07.068" v="3991" actId="478"/>
          <ac:spMkLst>
            <pc:docMk/>
            <pc:sldMk cId="0" sldId="16772967"/>
            <ac:spMk id="75" creationId="{CBFEE290-0A5D-2782-B54E-C518BA56E096}"/>
          </ac:spMkLst>
        </pc:spChg>
        <pc:spChg chg="del">
          <ac:chgData name="he zhendong/0494938/何　振東" userId="022da341-ef73-48fb-bc20-f47322bbf998" providerId="ADAL" clId="{9E891F1E-6875-4812-ACD0-C456DB8467F3}" dt="2025-09-18T08:37:17.609" v="4254" actId="478"/>
          <ac:spMkLst>
            <pc:docMk/>
            <pc:sldMk cId="0" sldId="16772967"/>
            <ac:spMk id="77" creationId="{7C197B49-4B98-596B-F65A-B5A094F4A8B0}"/>
          </ac:spMkLst>
        </pc:spChg>
        <pc:spChg chg="mod">
          <ac:chgData name="he zhendong/0494938/何　振東" userId="022da341-ef73-48fb-bc20-f47322bbf998" providerId="ADAL" clId="{9E891F1E-6875-4812-ACD0-C456DB8467F3}" dt="2025-09-18T08:44:26.056" v="4401" actId="1037"/>
          <ac:spMkLst>
            <pc:docMk/>
            <pc:sldMk cId="0" sldId="16772967"/>
            <ac:spMk id="78" creationId="{67838BC0-8257-718E-D0B6-C3B63BA60C8F}"/>
          </ac:spMkLst>
        </pc:spChg>
        <pc:spChg chg="mod">
          <ac:chgData name="he zhendong/0494938/何　振東" userId="022da341-ef73-48fb-bc20-f47322bbf998" providerId="ADAL" clId="{9E891F1E-6875-4812-ACD0-C456DB8467F3}" dt="2025-09-18T08:40:45.821" v="4363" actId="14100"/>
          <ac:spMkLst>
            <pc:docMk/>
            <pc:sldMk cId="0" sldId="16772967"/>
            <ac:spMk id="79" creationId="{117F2DB8-735C-AB14-0186-227D6C4F9863}"/>
          </ac:spMkLst>
        </pc:spChg>
        <pc:spChg chg="del">
          <ac:chgData name="he zhendong/0494938/何　振東" userId="022da341-ef73-48fb-bc20-f47322bbf998" providerId="ADAL" clId="{9E891F1E-6875-4812-ACD0-C456DB8467F3}" dt="2025-09-18T08:20:39.336" v="3871" actId="478"/>
          <ac:spMkLst>
            <pc:docMk/>
            <pc:sldMk cId="0" sldId="16772967"/>
            <ac:spMk id="80" creationId="{5E66E3B7-25AD-C2F1-C05A-EA892A802886}"/>
          </ac:spMkLst>
        </pc:spChg>
        <pc:spChg chg="del">
          <ac:chgData name="he zhendong/0494938/何　振東" userId="022da341-ef73-48fb-bc20-f47322bbf998" providerId="ADAL" clId="{9E891F1E-6875-4812-ACD0-C456DB8467F3}" dt="2025-09-18T08:23:14.544" v="3972" actId="478"/>
          <ac:spMkLst>
            <pc:docMk/>
            <pc:sldMk cId="0" sldId="16772967"/>
            <ac:spMk id="81" creationId="{A89A3CC2-3AFB-E2FF-BD57-D827D60EBE46}"/>
          </ac:spMkLst>
        </pc:spChg>
        <pc:spChg chg="del">
          <ac:chgData name="he zhendong/0494938/何　振東" userId="022da341-ef73-48fb-bc20-f47322bbf998" providerId="ADAL" clId="{9E891F1E-6875-4812-ACD0-C456DB8467F3}" dt="2025-09-18T08:23:14.544" v="3972" actId="478"/>
          <ac:spMkLst>
            <pc:docMk/>
            <pc:sldMk cId="0" sldId="16772967"/>
            <ac:spMk id="82" creationId="{A219B74B-B483-D6D7-8472-63CC6DC3ACDF}"/>
          </ac:spMkLst>
        </pc:spChg>
        <pc:spChg chg="del">
          <ac:chgData name="he zhendong/0494938/何　振東" userId="022da341-ef73-48fb-bc20-f47322bbf998" providerId="ADAL" clId="{9E891F1E-6875-4812-ACD0-C456DB8467F3}" dt="2025-09-18T08:23:14.544" v="3972" actId="478"/>
          <ac:spMkLst>
            <pc:docMk/>
            <pc:sldMk cId="0" sldId="16772967"/>
            <ac:spMk id="83" creationId="{767ED971-203C-B543-9C42-FD8EBFB5AC7E}"/>
          </ac:spMkLst>
        </pc:spChg>
        <pc:spChg chg="del">
          <ac:chgData name="he zhendong/0494938/何　振東" userId="022da341-ef73-48fb-bc20-f47322bbf998" providerId="ADAL" clId="{9E891F1E-6875-4812-ACD0-C456DB8467F3}" dt="2025-09-18T08:23:14.544" v="3972" actId="478"/>
          <ac:spMkLst>
            <pc:docMk/>
            <pc:sldMk cId="0" sldId="16772967"/>
            <ac:spMk id="84" creationId="{73DCB070-4611-2A78-47B1-539FA5CD396A}"/>
          </ac:spMkLst>
        </pc:spChg>
        <pc:spChg chg="del">
          <ac:chgData name="he zhendong/0494938/何　振東" userId="022da341-ef73-48fb-bc20-f47322bbf998" providerId="ADAL" clId="{9E891F1E-6875-4812-ACD0-C456DB8467F3}" dt="2025-09-18T08:23:14.544" v="3972" actId="478"/>
          <ac:spMkLst>
            <pc:docMk/>
            <pc:sldMk cId="0" sldId="16772967"/>
            <ac:spMk id="85" creationId="{1AD6DDBC-C236-9701-40D8-717387236CDF}"/>
          </ac:spMkLst>
        </pc:spChg>
        <pc:spChg chg="del">
          <ac:chgData name="he zhendong/0494938/何　振東" userId="022da341-ef73-48fb-bc20-f47322bbf998" providerId="ADAL" clId="{9E891F1E-6875-4812-ACD0-C456DB8467F3}" dt="2025-09-18T08:23:21.974" v="3974" actId="478"/>
          <ac:spMkLst>
            <pc:docMk/>
            <pc:sldMk cId="0" sldId="16772967"/>
            <ac:spMk id="87" creationId="{9573A456-D610-DB7E-9417-5F0E85DDB9EF}"/>
          </ac:spMkLst>
        </pc:spChg>
        <pc:spChg chg="del">
          <ac:chgData name="he zhendong/0494938/何　振東" userId="022da341-ef73-48fb-bc20-f47322bbf998" providerId="ADAL" clId="{9E891F1E-6875-4812-ACD0-C456DB8467F3}" dt="2025-09-18T08:21:12.125" v="3889" actId="478"/>
          <ac:spMkLst>
            <pc:docMk/>
            <pc:sldMk cId="0" sldId="16772967"/>
            <ac:spMk id="88" creationId="{C6EE7EC3-F4AB-0D4C-95F9-26DFA5835843}"/>
          </ac:spMkLst>
        </pc:spChg>
        <pc:spChg chg="add mod">
          <ac:chgData name="he zhendong/0494938/何　振東" userId="022da341-ef73-48fb-bc20-f47322bbf998" providerId="ADAL" clId="{9E891F1E-6875-4812-ACD0-C456DB8467F3}" dt="2025-09-18T08:44:26.056" v="4401" actId="1037"/>
          <ac:spMkLst>
            <pc:docMk/>
            <pc:sldMk cId="0" sldId="16772967"/>
            <ac:spMk id="96" creationId="{601F555D-9479-AED5-4FAC-5A364D2637CD}"/>
          </ac:spMkLst>
        </pc:spChg>
        <pc:cxnChg chg="mod">
          <ac:chgData name="he zhendong/0494938/何　振東" userId="022da341-ef73-48fb-bc20-f47322bbf998" providerId="ADAL" clId="{9E891F1E-6875-4812-ACD0-C456DB8467F3}" dt="2025-09-18T08:40:37.720" v="4362" actId="1038"/>
          <ac:cxnSpMkLst>
            <pc:docMk/>
            <pc:sldMk cId="0" sldId="16772967"/>
            <ac:cxnSpMk id="12" creationId="{9E45B141-258E-B087-8B9B-B2E1A62F2966}"/>
          </ac:cxnSpMkLst>
        </pc:cxnChg>
        <pc:cxnChg chg="mod">
          <ac:chgData name="he zhendong/0494938/何　振東" userId="022da341-ef73-48fb-bc20-f47322bbf998" providerId="ADAL" clId="{9E891F1E-6875-4812-ACD0-C456DB8467F3}" dt="2025-09-18T08:35:21.383" v="4235" actId="12789"/>
          <ac:cxnSpMkLst>
            <pc:docMk/>
            <pc:sldMk cId="0" sldId="16772967"/>
            <ac:cxnSpMk id="13" creationId="{11B4CD0B-EC79-5C9F-3A86-9E0B06AD825C}"/>
          </ac:cxnSpMkLst>
        </pc:cxnChg>
        <pc:cxnChg chg="mod">
          <ac:chgData name="he zhendong/0494938/何　振東" userId="022da341-ef73-48fb-bc20-f47322bbf998" providerId="ADAL" clId="{9E891F1E-6875-4812-ACD0-C456DB8467F3}" dt="2025-09-18T08:35:11.162" v="4234" actId="14100"/>
          <ac:cxnSpMkLst>
            <pc:docMk/>
            <pc:sldMk cId="0" sldId="16772967"/>
            <ac:cxnSpMk id="24" creationId="{1B9626BA-8FCE-E813-819B-1FAC803F9087}"/>
          </ac:cxnSpMkLst>
        </pc:cxnChg>
        <pc:cxnChg chg="del mod">
          <ac:chgData name="he zhendong/0494938/何　振東" userId="022da341-ef73-48fb-bc20-f47322bbf998" providerId="ADAL" clId="{9E891F1E-6875-4812-ACD0-C456DB8467F3}" dt="2025-09-18T08:21:51.433" v="3897" actId="478"/>
          <ac:cxnSpMkLst>
            <pc:docMk/>
            <pc:sldMk cId="0" sldId="16772967"/>
            <ac:cxnSpMk id="25" creationId="{872DA4F5-1A57-3976-2E35-075CD3BBC430}"/>
          </ac:cxnSpMkLst>
        </pc:cxnChg>
        <pc:cxnChg chg="mod">
          <ac:chgData name="he zhendong/0494938/何　振東" userId="022da341-ef73-48fb-bc20-f47322bbf998" providerId="ADAL" clId="{9E891F1E-6875-4812-ACD0-C456DB8467F3}" dt="2025-09-18T08:40:37.720" v="4362" actId="1038"/>
          <ac:cxnSpMkLst>
            <pc:docMk/>
            <pc:sldMk cId="0" sldId="16772967"/>
            <ac:cxnSpMk id="27" creationId="{FF5D66F0-ED55-C441-D779-A68168BA0F73}"/>
          </ac:cxnSpMkLst>
        </pc:cxnChg>
        <pc:cxnChg chg="del mod">
          <ac:chgData name="he zhendong/0494938/何　振東" userId="022da341-ef73-48fb-bc20-f47322bbf998" providerId="ADAL" clId="{9E891F1E-6875-4812-ACD0-C456DB8467F3}" dt="2025-09-18T08:21:50.802" v="3896" actId="478"/>
          <ac:cxnSpMkLst>
            <pc:docMk/>
            <pc:sldMk cId="0" sldId="16772967"/>
            <ac:cxnSpMk id="28" creationId="{488A4BEC-D8E8-1166-A459-33243FA2BEDE}"/>
          </ac:cxnSpMkLst>
        </pc:cxnChg>
        <pc:cxnChg chg="del mod">
          <ac:chgData name="he zhendong/0494938/何　振東" userId="022da341-ef73-48fb-bc20-f47322bbf998" providerId="ADAL" clId="{9E891F1E-6875-4812-ACD0-C456DB8467F3}" dt="2025-09-18T08:21:49.755" v="3895" actId="478"/>
          <ac:cxnSpMkLst>
            <pc:docMk/>
            <pc:sldMk cId="0" sldId="16772967"/>
            <ac:cxnSpMk id="29" creationId="{07AA6A18-C79C-6D8D-8C99-3BAF00E140AC}"/>
          </ac:cxnSpMkLst>
        </pc:cxnChg>
        <pc:cxnChg chg="mod">
          <ac:chgData name="he zhendong/0494938/何　振東" userId="022da341-ef73-48fb-bc20-f47322bbf998" providerId="ADAL" clId="{9E891F1E-6875-4812-ACD0-C456DB8467F3}" dt="2025-09-18T08:34:57.490" v="4232" actId="1035"/>
          <ac:cxnSpMkLst>
            <pc:docMk/>
            <pc:sldMk cId="0" sldId="16772967"/>
            <ac:cxnSpMk id="30" creationId="{4DEFCB05-6372-E348-929B-20757232D221}"/>
          </ac:cxnSpMkLst>
        </pc:cxnChg>
        <pc:cxnChg chg="del mod">
          <ac:chgData name="he zhendong/0494938/何　振東" userId="022da341-ef73-48fb-bc20-f47322bbf998" providerId="ADAL" clId="{9E891F1E-6875-4812-ACD0-C456DB8467F3}" dt="2025-09-18T08:24:04.314" v="3982" actId="478"/>
          <ac:cxnSpMkLst>
            <pc:docMk/>
            <pc:sldMk cId="0" sldId="16772967"/>
            <ac:cxnSpMk id="31" creationId="{A5257BC9-B5E2-4070-6A8F-358042B7178D}"/>
          </ac:cxnSpMkLst>
        </pc:cxnChg>
        <pc:cxnChg chg="del mod">
          <ac:chgData name="he zhendong/0494938/何　振東" userId="022da341-ef73-48fb-bc20-f47322bbf998" providerId="ADAL" clId="{9E891F1E-6875-4812-ACD0-C456DB8467F3}" dt="2025-09-18T08:23:51.737" v="3978" actId="478"/>
          <ac:cxnSpMkLst>
            <pc:docMk/>
            <pc:sldMk cId="0" sldId="16772967"/>
            <ac:cxnSpMk id="40" creationId="{2F74BD6D-A8A8-BD63-A9BD-8AD8A512361C}"/>
          </ac:cxnSpMkLst>
        </pc:cxnChg>
        <pc:cxnChg chg="del mod">
          <ac:chgData name="he zhendong/0494938/何　振東" userId="022da341-ef73-48fb-bc20-f47322bbf998" providerId="ADAL" clId="{9E891F1E-6875-4812-ACD0-C456DB8467F3}" dt="2025-09-18T08:19:59.916" v="3812" actId="478"/>
          <ac:cxnSpMkLst>
            <pc:docMk/>
            <pc:sldMk cId="0" sldId="16772967"/>
            <ac:cxnSpMk id="41" creationId="{C4B30541-8B19-5BB0-7485-36DFA3F3A835}"/>
          </ac:cxnSpMkLst>
        </pc:cxnChg>
        <pc:cxnChg chg="add del mod">
          <ac:chgData name="he zhendong/0494938/何　振東" userId="022da341-ef73-48fb-bc20-f47322bbf998" providerId="ADAL" clId="{9E891F1E-6875-4812-ACD0-C456DB8467F3}" dt="2025-09-18T08:25:03.845" v="3990" actId="478"/>
          <ac:cxnSpMkLst>
            <pc:docMk/>
            <pc:sldMk cId="0" sldId="16772967"/>
            <ac:cxnSpMk id="43" creationId="{EB86B02C-112A-D77C-78BD-1E9AAB62DAB8}"/>
          </ac:cxnSpMkLst>
        </pc:cxnChg>
        <pc:cxnChg chg="mod">
          <ac:chgData name="he zhendong/0494938/何　振東" userId="022da341-ef73-48fb-bc20-f47322bbf998" providerId="ADAL" clId="{9E891F1E-6875-4812-ACD0-C456DB8467F3}" dt="2025-09-18T08:35:21.383" v="4235" actId="12789"/>
          <ac:cxnSpMkLst>
            <pc:docMk/>
            <pc:sldMk cId="0" sldId="16772967"/>
            <ac:cxnSpMk id="47" creationId="{CFB1942F-9A15-314C-5CD5-964EAFF8DA24}"/>
          </ac:cxnSpMkLst>
        </pc:cxnChg>
        <pc:cxnChg chg="mod">
          <ac:chgData name="he zhendong/0494938/何　振東" userId="022da341-ef73-48fb-bc20-f47322bbf998" providerId="ADAL" clId="{9E891F1E-6875-4812-ACD0-C456DB8467F3}" dt="2025-09-18T08:35:21.383" v="4235" actId="12789"/>
          <ac:cxnSpMkLst>
            <pc:docMk/>
            <pc:sldMk cId="0" sldId="16772967"/>
            <ac:cxnSpMk id="51" creationId="{368FA122-369C-C9E5-E801-F33B823A2D47}"/>
          </ac:cxnSpMkLst>
        </pc:cxnChg>
        <pc:cxnChg chg="mod">
          <ac:chgData name="he zhendong/0494938/何　振東" userId="022da341-ef73-48fb-bc20-f47322bbf998" providerId="ADAL" clId="{9E891F1E-6875-4812-ACD0-C456DB8467F3}" dt="2025-09-18T08:25:49.658" v="4144" actId="1038"/>
          <ac:cxnSpMkLst>
            <pc:docMk/>
            <pc:sldMk cId="0" sldId="16772967"/>
            <ac:cxnSpMk id="53" creationId="{285763A7-1F61-684C-B8ED-4013DD0D3BB4}"/>
          </ac:cxnSpMkLst>
        </pc:cxnChg>
        <pc:cxnChg chg="del mod">
          <ac:chgData name="he zhendong/0494938/何　振東" userId="022da341-ef73-48fb-bc20-f47322bbf998" providerId="ADAL" clId="{9E891F1E-6875-4812-ACD0-C456DB8467F3}" dt="2025-09-18T08:25:55.344" v="4145" actId="478"/>
          <ac:cxnSpMkLst>
            <pc:docMk/>
            <pc:sldMk cId="0" sldId="16772967"/>
            <ac:cxnSpMk id="54" creationId="{850D592F-CAB3-BF4B-F87C-F9B40252BE35}"/>
          </ac:cxnSpMkLst>
        </pc:cxnChg>
        <pc:cxnChg chg="mod">
          <ac:chgData name="he zhendong/0494938/何　振東" userId="022da341-ef73-48fb-bc20-f47322bbf998" providerId="ADAL" clId="{9E891F1E-6875-4812-ACD0-C456DB8467F3}" dt="2025-09-18T08:25:10.592" v="4016" actId="1035"/>
          <ac:cxnSpMkLst>
            <pc:docMk/>
            <pc:sldMk cId="0" sldId="16772967"/>
            <ac:cxnSpMk id="55" creationId="{485E4F7D-96B6-4A9A-15A4-BAB4817221B8}"/>
          </ac:cxnSpMkLst>
        </pc:cxnChg>
        <pc:cxnChg chg="mod">
          <ac:chgData name="he zhendong/0494938/何　振東" userId="022da341-ef73-48fb-bc20-f47322bbf998" providerId="ADAL" clId="{9E891F1E-6875-4812-ACD0-C456DB8467F3}" dt="2025-09-18T08:35:21.383" v="4235" actId="12789"/>
          <ac:cxnSpMkLst>
            <pc:docMk/>
            <pc:sldMk cId="0" sldId="16772967"/>
            <ac:cxnSpMk id="56" creationId="{3F861241-9381-374C-CC34-E526F15D5EEC}"/>
          </ac:cxnSpMkLst>
        </pc:cxnChg>
        <pc:cxnChg chg="del mod">
          <ac:chgData name="he zhendong/0494938/何　振東" userId="022da341-ef73-48fb-bc20-f47322bbf998" providerId="ADAL" clId="{9E891F1E-6875-4812-ACD0-C456DB8467F3}" dt="2025-09-18T08:23:21.974" v="3974" actId="478"/>
          <ac:cxnSpMkLst>
            <pc:docMk/>
            <pc:sldMk cId="0" sldId="16772967"/>
            <ac:cxnSpMk id="57" creationId="{559B2202-DA05-C46C-924A-3E78F963E80E}"/>
          </ac:cxnSpMkLst>
        </pc:cxnChg>
        <pc:cxnChg chg="mod">
          <ac:chgData name="he zhendong/0494938/何　振東" userId="022da341-ef73-48fb-bc20-f47322bbf998" providerId="ADAL" clId="{9E891F1E-6875-4812-ACD0-C456DB8467F3}" dt="2025-09-18T08:39:31.046" v="4333" actId="14100"/>
          <ac:cxnSpMkLst>
            <pc:docMk/>
            <pc:sldMk cId="0" sldId="16772967"/>
            <ac:cxnSpMk id="58" creationId="{D0C51975-B43C-A1EF-CFDD-420654B1A2E7}"/>
          </ac:cxnSpMkLst>
        </pc:cxnChg>
        <pc:cxnChg chg="mod">
          <ac:chgData name="he zhendong/0494938/何　振東" userId="022da341-ef73-48fb-bc20-f47322bbf998" providerId="ADAL" clId="{9E891F1E-6875-4812-ACD0-C456DB8467F3}" dt="2025-09-18T08:35:32.721" v="4237" actId="14100"/>
          <ac:cxnSpMkLst>
            <pc:docMk/>
            <pc:sldMk cId="0" sldId="16772967"/>
            <ac:cxnSpMk id="65" creationId="{D5CE732D-32E5-5B0D-A7E7-BEE2405C60C8}"/>
          </ac:cxnSpMkLst>
        </pc:cxnChg>
        <pc:cxnChg chg="del mod">
          <ac:chgData name="he zhendong/0494938/何　振東" userId="022da341-ef73-48fb-bc20-f47322bbf998" providerId="ADAL" clId="{9E891F1E-6875-4812-ACD0-C456DB8467F3}" dt="2025-09-18T08:20:39.336" v="3871" actId="478"/>
          <ac:cxnSpMkLst>
            <pc:docMk/>
            <pc:sldMk cId="0" sldId="16772967"/>
            <ac:cxnSpMk id="69" creationId="{9AEA17E0-6906-3272-B29A-30476916F78B}"/>
          </ac:cxnSpMkLst>
        </pc:cxnChg>
        <pc:cxnChg chg="add del mod">
          <ac:chgData name="he zhendong/0494938/何　振東" userId="022da341-ef73-48fb-bc20-f47322bbf998" providerId="ADAL" clId="{9E891F1E-6875-4812-ACD0-C456DB8467F3}" dt="2025-09-18T08:36:26.514" v="4247" actId="14100"/>
          <ac:cxnSpMkLst>
            <pc:docMk/>
            <pc:sldMk cId="0" sldId="16772967"/>
            <ac:cxnSpMk id="76" creationId="{C861C588-DA30-1FE8-CCC2-9EE5332D0F22}"/>
          </ac:cxnSpMkLst>
        </pc:cxnChg>
        <pc:cxnChg chg="del mod">
          <ac:chgData name="he zhendong/0494938/何　振東" userId="022da341-ef73-48fb-bc20-f47322bbf998" providerId="ADAL" clId="{9E891F1E-6875-4812-ACD0-C456DB8467F3}" dt="2025-09-18T08:38:09.056" v="4308" actId="478"/>
          <ac:cxnSpMkLst>
            <pc:docMk/>
            <pc:sldMk cId="0" sldId="16772967"/>
            <ac:cxnSpMk id="86" creationId="{14EED942-D808-516D-557B-E45E688E7C82}"/>
          </ac:cxnSpMkLst>
        </pc:cxnChg>
        <pc:cxnChg chg="mod">
          <ac:chgData name="he zhendong/0494938/何　振東" userId="022da341-ef73-48fb-bc20-f47322bbf998" providerId="ADAL" clId="{9E891F1E-6875-4812-ACD0-C456DB8467F3}" dt="2025-09-18T08:40:45.821" v="4363" actId="14100"/>
          <ac:cxnSpMkLst>
            <pc:docMk/>
            <pc:sldMk cId="0" sldId="16772967"/>
            <ac:cxnSpMk id="89" creationId="{93561D37-214F-DEC0-23A2-48D9B0114278}"/>
          </ac:cxnSpMkLst>
        </pc:cxnChg>
        <pc:cxnChg chg="mod">
          <ac:chgData name="he zhendong/0494938/何　振東" userId="022da341-ef73-48fb-bc20-f47322bbf998" providerId="ADAL" clId="{9E891F1E-6875-4812-ACD0-C456DB8467F3}" dt="2025-09-18T08:40:45.821" v="4363" actId="14100"/>
          <ac:cxnSpMkLst>
            <pc:docMk/>
            <pc:sldMk cId="0" sldId="16772967"/>
            <ac:cxnSpMk id="90" creationId="{98DDB7CD-16A1-C017-C049-A18F2B9BB2F0}"/>
          </ac:cxnSpMkLst>
        </pc:cxnChg>
        <pc:cxnChg chg="add mod">
          <ac:chgData name="he zhendong/0494938/何　振東" userId="022da341-ef73-48fb-bc20-f47322bbf998" providerId="ADAL" clId="{9E891F1E-6875-4812-ACD0-C456DB8467F3}" dt="2025-09-18T08:37:02.969" v="4251" actId="14100"/>
          <ac:cxnSpMkLst>
            <pc:docMk/>
            <pc:sldMk cId="0" sldId="16772967"/>
            <ac:cxnSpMk id="125" creationId="{B9F154C0-D8FD-96EE-6CA3-38DFD74F4A53}"/>
          </ac:cxnSpMkLst>
        </pc:cxnChg>
        <pc:cxnChg chg="add mod">
          <ac:chgData name="he zhendong/0494938/何　振東" userId="022da341-ef73-48fb-bc20-f47322bbf998" providerId="ADAL" clId="{9E891F1E-6875-4812-ACD0-C456DB8467F3}" dt="2025-09-18T08:39:27.639" v="4332" actId="14100"/>
          <ac:cxnSpMkLst>
            <pc:docMk/>
            <pc:sldMk cId="0" sldId="16772967"/>
            <ac:cxnSpMk id="129" creationId="{878B4B2B-E57A-E011-D899-D3E9A43D1DCA}"/>
          </ac:cxnSpMkLst>
        </pc:cxnChg>
        <pc:cxnChg chg="add mod">
          <ac:chgData name="he zhendong/0494938/何　振東" userId="022da341-ef73-48fb-bc20-f47322bbf998" providerId="ADAL" clId="{9E891F1E-6875-4812-ACD0-C456DB8467F3}" dt="2025-09-18T08:41:33.890" v="4373" actId="14100"/>
          <ac:cxnSpMkLst>
            <pc:docMk/>
            <pc:sldMk cId="0" sldId="16772967"/>
            <ac:cxnSpMk id="141" creationId="{965E2D9E-AD9F-B7FA-B172-327035324BDF}"/>
          </ac:cxnSpMkLst>
        </pc:cxnChg>
        <pc:cxnChg chg="add mod">
          <ac:chgData name="he zhendong/0494938/何　振東" userId="022da341-ef73-48fb-bc20-f47322bbf998" providerId="ADAL" clId="{9E891F1E-6875-4812-ACD0-C456DB8467F3}" dt="2025-09-18T08:41:47.307" v="4378" actId="14100"/>
          <ac:cxnSpMkLst>
            <pc:docMk/>
            <pc:sldMk cId="0" sldId="16772967"/>
            <ac:cxnSpMk id="145" creationId="{CA808C40-634C-E3C4-7471-1D593035914D}"/>
          </ac:cxnSpMkLst>
        </pc:cxnChg>
      </pc:sldChg>
      <pc:sldChg chg="modSp mod">
        <pc:chgData name="he zhendong/0494938/何　振東" userId="022da341-ef73-48fb-bc20-f47322bbf998" providerId="ADAL" clId="{9E891F1E-6875-4812-ACD0-C456DB8467F3}" dt="2025-09-18T12:24:58.132" v="6555" actId="20577"/>
        <pc:sldMkLst>
          <pc:docMk/>
          <pc:sldMk cId="0" sldId="16772968"/>
        </pc:sldMkLst>
        <pc:graphicFrameChg chg="modGraphic">
          <ac:chgData name="he zhendong/0494938/何　振東" userId="022da341-ef73-48fb-bc20-f47322bbf998" providerId="ADAL" clId="{9E891F1E-6875-4812-ACD0-C456DB8467F3}" dt="2025-09-18T12:24:58.132" v="6555" actId="20577"/>
          <ac:graphicFrameMkLst>
            <pc:docMk/>
            <pc:sldMk cId="0" sldId="16772968"/>
            <ac:graphicFrameMk id="13" creationId="{CCEE3F59-435C-2042-9CB5-81A93BE17519}"/>
          </ac:graphicFrameMkLst>
        </pc:graphicFrameChg>
      </pc:sldChg>
      <pc:sldChg chg="del">
        <pc:chgData name="he zhendong/0494938/何　振東" userId="022da341-ef73-48fb-bc20-f47322bbf998" providerId="ADAL" clId="{9E891F1E-6875-4812-ACD0-C456DB8467F3}" dt="2025-09-18T12:46:18.637" v="6587" actId="47"/>
        <pc:sldMkLst>
          <pc:docMk/>
          <pc:sldMk cId="3996305701" sldId="16772969"/>
        </pc:sldMkLst>
      </pc:sldChg>
      <pc:sldChg chg="addSp delSp modSp mod">
        <pc:chgData name="he zhendong/0494938/何　振東" userId="022da341-ef73-48fb-bc20-f47322bbf998" providerId="ADAL" clId="{9E891F1E-6875-4812-ACD0-C456DB8467F3}" dt="2025-09-18T09:21:05.716" v="6229" actId="20577"/>
        <pc:sldMkLst>
          <pc:docMk/>
          <pc:sldMk cId="1024482199" sldId="16772970"/>
        </pc:sldMkLst>
        <pc:spChg chg="del">
          <ac:chgData name="he zhendong/0494938/何　振東" userId="022da341-ef73-48fb-bc20-f47322bbf998" providerId="ADAL" clId="{9E891F1E-6875-4812-ACD0-C456DB8467F3}" dt="2025-09-18T09:16:45.432" v="5771" actId="478"/>
          <ac:spMkLst>
            <pc:docMk/>
            <pc:sldMk cId="1024482199" sldId="16772970"/>
            <ac:spMk id="3" creationId="{00000000-0000-0000-0000-000000000000}"/>
          </ac:spMkLst>
        </pc:spChg>
        <pc:spChg chg="add del mod">
          <ac:chgData name="he zhendong/0494938/何　振東" userId="022da341-ef73-48fb-bc20-f47322bbf998" providerId="ADAL" clId="{9E891F1E-6875-4812-ACD0-C456DB8467F3}" dt="2025-09-18T09:18:58.295" v="5933" actId="478"/>
          <ac:spMkLst>
            <pc:docMk/>
            <pc:sldMk cId="1024482199" sldId="16772970"/>
            <ac:spMk id="15" creationId="{00000000-0000-0000-0000-000000000000}"/>
          </ac:spMkLst>
        </pc:spChg>
        <pc:graphicFrameChg chg="add del mod modGraphic">
          <ac:chgData name="he zhendong/0494938/何　振東" userId="022da341-ef73-48fb-bc20-f47322bbf998" providerId="ADAL" clId="{9E891F1E-6875-4812-ACD0-C456DB8467F3}" dt="2025-09-18T09:21:05.716" v="6229" actId="20577"/>
          <ac:graphicFrameMkLst>
            <pc:docMk/>
            <pc:sldMk cId="1024482199" sldId="16772970"/>
            <ac:graphicFrameMk id="4" creationId="{7A494E27-83EC-A0A3-2082-E9A9D75C64D6}"/>
          </ac:graphicFrameMkLst>
        </pc:graphicFrameChg>
      </pc:sldChg>
      <pc:sldChg chg="modSp mod">
        <pc:chgData name="he zhendong/0494938/何　振東" userId="022da341-ef73-48fb-bc20-f47322bbf998" providerId="ADAL" clId="{9E891F1E-6875-4812-ACD0-C456DB8467F3}" dt="2025-09-18T07:39:08.973" v="2428" actId="1076"/>
        <pc:sldMkLst>
          <pc:docMk/>
          <pc:sldMk cId="0" sldId="16772972"/>
        </pc:sldMkLst>
        <pc:spChg chg="mod">
          <ac:chgData name="he zhendong/0494938/何　振東" userId="022da341-ef73-48fb-bc20-f47322bbf998" providerId="ADAL" clId="{9E891F1E-6875-4812-ACD0-C456DB8467F3}" dt="2025-09-18T07:38:59.969" v="2427" actId="1035"/>
          <ac:spMkLst>
            <pc:docMk/>
            <pc:sldMk cId="0" sldId="16772972"/>
            <ac:spMk id="49" creationId="{00000000-0000-0000-0000-000000000000}"/>
          </ac:spMkLst>
        </pc:spChg>
        <pc:spChg chg="mod">
          <ac:chgData name="he zhendong/0494938/何　振東" userId="022da341-ef73-48fb-bc20-f47322bbf998" providerId="ADAL" clId="{9E891F1E-6875-4812-ACD0-C456DB8467F3}" dt="2025-09-18T07:38:59.969" v="2427" actId="1035"/>
          <ac:spMkLst>
            <pc:docMk/>
            <pc:sldMk cId="0" sldId="16772972"/>
            <ac:spMk id="51" creationId="{00000000-0000-0000-0000-000000000000}"/>
          </ac:spMkLst>
        </pc:spChg>
        <pc:spChg chg="mod">
          <ac:chgData name="he zhendong/0494938/何　振東" userId="022da341-ef73-48fb-bc20-f47322bbf998" providerId="ADAL" clId="{9E891F1E-6875-4812-ACD0-C456DB8467F3}" dt="2025-09-18T07:39:08.973" v="2428" actId="1076"/>
          <ac:spMkLst>
            <pc:docMk/>
            <pc:sldMk cId="0" sldId="16772972"/>
            <ac:spMk id="1057" creationId="{00000000-0000-0000-0000-000000000000}"/>
          </ac:spMkLst>
        </pc:spChg>
        <pc:picChg chg="mod">
          <ac:chgData name="he zhendong/0494938/何　振東" userId="022da341-ef73-48fb-bc20-f47322bbf998" providerId="ADAL" clId="{9E891F1E-6875-4812-ACD0-C456DB8467F3}" dt="2025-09-18T07:38:59.969" v="2427" actId="1035"/>
          <ac:picMkLst>
            <pc:docMk/>
            <pc:sldMk cId="0" sldId="16772972"/>
            <ac:picMk id="10" creationId="{00000000-0000-0000-0000-000000000000}"/>
          </ac:picMkLst>
        </pc:picChg>
        <pc:cxnChg chg="mod">
          <ac:chgData name="he zhendong/0494938/何　振東" userId="022da341-ef73-48fb-bc20-f47322bbf998" providerId="ADAL" clId="{9E891F1E-6875-4812-ACD0-C456DB8467F3}" dt="2025-09-18T07:38:59.969" v="2427" actId="1035"/>
          <ac:cxnSpMkLst>
            <pc:docMk/>
            <pc:sldMk cId="0" sldId="16772972"/>
            <ac:cxnSpMk id="22"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32"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47"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50" creationId="{00000000-0000-0000-0000-000000000000}"/>
          </ac:cxnSpMkLst>
        </pc:cxnChg>
      </pc:sldChg>
      <pc:sldChg chg="addSp delSp modSp mod">
        <pc:chgData name="he zhendong/0494938/何　振東" userId="022da341-ef73-48fb-bc20-f47322bbf998" providerId="ADAL" clId="{9E891F1E-6875-4812-ACD0-C456DB8467F3}" dt="2025-09-18T08:16:35.917" v="3800" actId="1035"/>
        <pc:sldMkLst>
          <pc:docMk/>
          <pc:sldMk cId="0" sldId="16776352"/>
        </pc:sldMkLst>
        <pc:spChg chg="add mod">
          <ac:chgData name="he zhendong/0494938/何　振東" userId="022da341-ef73-48fb-bc20-f47322bbf998" providerId="ADAL" clId="{9E891F1E-6875-4812-ACD0-C456DB8467F3}" dt="2025-09-18T08:10:23.356" v="3711" actId="692"/>
          <ac:spMkLst>
            <pc:docMk/>
            <pc:sldMk cId="0" sldId="16776352"/>
            <ac:spMk id="6" creationId="{178FCCE8-4792-2D25-DA6F-82A527D5F1FA}"/>
          </ac:spMkLst>
        </pc:spChg>
        <pc:spChg chg="del">
          <ac:chgData name="he zhendong/0494938/何　振東" userId="022da341-ef73-48fb-bc20-f47322bbf998" providerId="ADAL" clId="{9E891F1E-6875-4812-ACD0-C456DB8467F3}" dt="2025-09-18T05:58:52.389" v="2279" actId="478"/>
          <ac:spMkLst>
            <pc:docMk/>
            <pc:sldMk cId="0" sldId="16776352"/>
            <ac:spMk id="7" creationId="{00000000-0000-0000-0000-000000000000}"/>
          </ac:spMkLst>
        </pc:spChg>
        <pc:spChg chg="add del mod">
          <ac:chgData name="he zhendong/0494938/何　振東" userId="022da341-ef73-48fb-bc20-f47322bbf998" providerId="ADAL" clId="{9E891F1E-6875-4812-ACD0-C456DB8467F3}" dt="2025-09-18T08:03:32.628" v="3499" actId="478"/>
          <ac:spMkLst>
            <pc:docMk/>
            <pc:sldMk cId="0" sldId="16776352"/>
            <ac:spMk id="7" creationId="{F2A8E43D-94D0-7186-101D-6E90E831649D}"/>
          </ac:spMkLst>
        </pc:spChg>
        <pc:spChg chg="add mod">
          <ac:chgData name="he zhendong/0494938/何　振東" userId="022da341-ef73-48fb-bc20-f47322bbf998" providerId="ADAL" clId="{9E891F1E-6875-4812-ACD0-C456DB8467F3}" dt="2025-09-18T08:10:23.356" v="3711" actId="692"/>
          <ac:spMkLst>
            <pc:docMk/>
            <pc:sldMk cId="0" sldId="16776352"/>
            <ac:spMk id="11" creationId="{26130295-4BA5-2BD7-6A42-E8D957747847}"/>
          </ac:spMkLst>
        </pc:spChg>
        <pc:spChg chg="mod">
          <ac:chgData name="he zhendong/0494938/何　振東" userId="022da341-ef73-48fb-bc20-f47322bbf998" providerId="ADAL" clId="{9E891F1E-6875-4812-ACD0-C456DB8467F3}" dt="2025-09-18T08:01:16.841" v="3444" actId="404"/>
          <ac:spMkLst>
            <pc:docMk/>
            <pc:sldMk cId="0" sldId="16776352"/>
            <ac:spMk id="15" creationId="{00000000-0000-0000-0000-000000000000}"/>
          </ac:spMkLst>
        </pc:spChg>
        <pc:spChg chg="add mod">
          <ac:chgData name="he zhendong/0494938/何　振東" userId="022da341-ef73-48fb-bc20-f47322bbf998" providerId="ADAL" clId="{9E891F1E-6875-4812-ACD0-C456DB8467F3}" dt="2025-09-18T08:11:13.535" v="3760" actId="20577"/>
          <ac:spMkLst>
            <pc:docMk/>
            <pc:sldMk cId="0" sldId="16776352"/>
            <ac:spMk id="19" creationId="{CE75689F-796A-9AA2-93B7-9CAA7765CEC1}"/>
          </ac:spMkLst>
        </pc:spChg>
        <pc:spChg chg="add mod">
          <ac:chgData name="he zhendong/0494938/何　振東" userId="022da341-ef73-48fb-bc20-f47322bbf998" providerId="ADAL" clId="{9E891F1E-6875-4812-ACD0-C456DB8467F3}" dt="2025-09-18T08:12:08.923" v="3781" actId="1037"/>
          <ac:spMkLst>
            <pc:docMk/>
            <pc:sldMk cId="0" sldId="16776352"/>
            <ac:spMk id="39" creationId="{617DB24C-6360-A48E-3E41-4A96593FC94F}"/>
          </ac:spMkLst>
        </pc:spChg>
        <pc:spChg chg="add mod">
          <ac:chgData name="he zhendong/0494938/何　振東" userId="022da341-ef73-48fb-bc20-f47322bbf998" providerId="ADAL" clId="{9E891F1E-6875-4812-ACD0-C456DB8467F3}" dt="2025-09-18T08:16:35.917" v="3800" actId="1035"/>
          <ac:spMkLst>
            <pc:docMk/>
            <pc:sldMk cId="0" sldId="16776352"/>
            <ac:spMk id="48" creationId="{CE3EA390-5740-436D-28B9-09C986BD2B2C}"/>
          </ac:spMkLst>
        </pc:spChg>
        <pc:picChg chg="add mod">
          <ac:chgData name="he zhendong/0494938/何　振東" userId="022da341-ef73-48fb-bc20-f47322bbf998" providerId="ADAL" clId="{9E891F1E-6875-4812-ACD0-C456DB8467F3}" dt="2025-09-18T08:06:38.820" v="3630" actId="1076"/>
          <ac:picMkLst>
            <pc:docMk/>
            <pc:sldMk cId="0" sldId="16776352"/>
            <ac:picMk id="3" creationId="{782386FB-898C-0717-BDB7-73A999872525}"/>
          </ac:picMkLst>
        </pc:picChg>
        <pc:picChg chg="add mod">
          <ac:chgData name="he zhendong/0494938/何　振東" userId="022da341-ef73-48fb-bc20-f47322bbf998" providerId="ADAL" clId="{9E891F1E-6875-4812-ACD0-C456DB8467F3}" dt="2025-09-18T08:06:45.114" v="3634" actId="1076"/>
          <ac:picMkLst>
            <pc:docMk/>
            <pc:sldMk cId="0" sldId="16776352"/>
            <ac:picMk id="4" creationId="{269F6357-5908-BEC3-1B53-CE426C0999BC}"/>
          </ac:picMkLst>
        </pc:picChg>
        <pc:picChg chg="add mod">
          <ac:chgData name="he zhendong/0494938/何　振東" userId="022da341-ef73-48fb-bc20-f47322bbf998" providerId="ADAL" clId="{9E891F1E-6875-4812-ACD0-C456DB8467F3}" dt="2025-09-18T08:08:36.591" v="3703" actId="1036"/>
          <ac:picMkLst>
            <pc:docMk/>
            <pc:sldMk cId="0" sldId="16776352"/>
            <ac:picMk id="5" creationId="{CD476A42-664A-A687-6190-EEA8F871DBF0}"/>
          </ac:picMkLst>
        </pc:picChg>
        <pc:picChg chg="add del mod">
          <ac:chgData name="he zhendong/0494938/何　振東" userId="022da341-ef73-48fb-bc20-f47322bbf998" providerId="ADAL" clId="{9E891F1E-6875-4812-ACD0-C456DB8467F3}" dt="2025-09-18T08:04:03.471" v="3506" actId="478"/>
          <ac:picMkLst>
            <pc:docMk/>
            <pc:sldMk cId="0" sldId="16776352"/>
            <ac:picMk id="10" creationId="{0971A8B8-887A-B081-1660-DD56BCB57618}"/>
          </ac:picMkLst>
        </pc:picChg>
        <pc:picChg chg="add mod">
          <ac:chgData name="he zhendong/0494938/何　振東" userId="022da341-ef73-48fb-bc20-f47322bbf998" providerId="ADAL" clId="{9E891F1E-6875-4812-ACD0-C456DB8467F3}" dt="2025-09-18T08:08:28.675" v="3689" actId="465"/>
          <ac:picMkLst>
            <pc:docMk/>
            <pc:sldMk cId="0" sldId="16776352"/>
            <ac:picMk id="20" creationId="{36492227-8BCD-FE3A-26B9-76411D651CEA}"/>
          </ac:picMkLst>
        </pc:picChg>
        <pc:picChg chg="add mod">
          <ac:chgData name="he zhendong/0494938/何　振東" userId="022da341-ef73-48fb-bc20-f47322bbf998" providerId="ADAL" clId="{9E891F1E-6875-4812-ACD0-C456DB8467F3}" dt="2025-09-18T08:15:59.342" v="3794" actId="1076"/>
          <ac:picMkLst>
            <pc:docMk/>
            <pc:sldMk cId="0" sldId="16776352"/>
            <ac:picMk id="47" creationId="{6E75CB1C-50E2-60C7-707A-0CFFDB5C3D5C}"/>
          </ac:picMkLst>
        </pc:picChg>
        <pc:picChg chg="add mod">
          <ac:chgData name="he zhendong/0494938/何　振東" userId="022da341-ef73-48fb-bc20-f47322bbf998" providerId="ADAL" clId="{9E891F1E-6875-4812-ACD0-C456DB8467F3}" dt="2025-09-18T08:08:28.675" v="3689" actId="465"/>
          <ac:picMkLst>
            <pc:docMk/>
            <pc:sldMk cId="0" sldId="16776352"/>
            <ac:picMk id="2050" creationId="{43295ADE-FC47-FFA1-997D-4CE580DDFC81}"/>
          </ac:picMkLst>
        </pc:picChg>
        <pc:cxnChg chg="add mod">
          <ac:chgData name="he zhendong/0494938/何　振東" userId="022da341-ef73-48fb-bc20-f47322bbf998" providerId="ADAL" clId="{9E891F1E-6875-4812-ACD0-C456DB8467F3}" dt="2025-09-18T08:08:53.780" v="3705" actId="14100"/>
          <ac:cxnSpMkLst>
            <pc:docMk/>
            <pc:sldMk cId="0" sldId="16776352"/>
            <ac:cxnSpMk id="9" creationId="{309FC341-0A55-57C8-568A-ADF49AF1D0A9}"/>
          </ac:cxnSpMkLst>
        </pc:cxnChg>
        <pc:cxnChg chg="add mod">
          <ac:chgData name="he zhendong/0494938/何　振東" userId="022da341-ef73-48fb-bc20-f47322bbf998" providerId="ADAL" clId="{9E891F1E-6875-4812-ACD0-C456DB8467F3}" dt="2025-09-18T08:08:36.591" v="3703" actId="1036"/>
          <ac:cxnSpMkLst>
            <pc:docMk/>
            <pc:sldMk cId="0" sldId="16776352"/>
            <ac:cxnSpMk id="12" creationId="{BEB9D20D-36A3-33BF-2564-ACAC6A4335A0}"/>
          </ac:cxnSpMkLst>
        </pc:cxnChg>
        <pc:cxnChg chg="add">
          <ac:chgData name="he zhendong/0494938/何　振東" userId="022da341-ef73-48fb-bc20-f47322bbf998" providerId="ADAL" clId="{9E891F1E-6875-4812-ACD0-C456DB8467F3}" dt="2025-09-18T08:07:17.729" v="3652" actId="11529"/>
          <ac:cxnSpMkLst>
            <pc:docMk/>
            <pc:sldMk cId="0" sldId="16776352"/>
            <ac:cxnSpMk id="22" creationId="{A514F95F-2C0F-795C-1F2C-4D0E58CD9B08}"/>
          </ac:cxnSpMkLst>
        </pc:cxnChg>
        <pc:cxnChg chg="add mod">
          <ac:chgData name="he zhendong/0494938/何　振東" userId="022da341-ef73-48fb-bc20-f47322bbf998" providerId="ADAL" clId="{9E891F1E-6875-4812-ACD0-C456DB8467F3}" dt="2025-09-18T08:08:28.675" v="3689" actId="465"/>
          <ac:cxnSpMkLst>
            <pc:docMk/>
            <pc:sldMk cId="0" sldId="16776352"/>
            <ac:cxnSpMk id="24" creationId="{FA57C126-002E-5304-45D5-EE9FBE4FD342}"/>
          </ac:cxnSpMkLst>
        </pc:cxnChg>
        <pc:cxnChg chg="add mod">
          <ac:chgData name="he zhendong/0494938/何　振東" userId="022da341-ef73-48fb-bc20-f47322bbf998" providerId="ADAL" clId="{9E891F1E-6875-4812-ACD0-C456DB8467F3}" dt="2025-09-18T08:11:52.368" v="3769" actId="692"/>
          <ac:cxnSpMkLst>
            <pc:docMk/>
            <pc:sldMk cId="0" sldId="16776352"/>
            <ac:cxnSpMk id="27" creationId="{B680A17E-0D76-24FF-D1DF-F363484CC77C}"/>
          </ac:cxnSpMkLst>
        </pc:cxnChg>
        <pc:cxnChg chg="add mod">
          <ac:chgData name="he zhendong/0494938/何　振東" userId="022da341-ef73-48fb-bc20-f47322bbf998" providerId="ADAL" clId="{9E891F1E-6875-4812-ACD0-C456DB8467F3}" dt="2025-09-18T08:08:17.808" v="3688" actId="1036"/>
          <ac:cxnSpMkLst>
            <pc:docMk/>
            <pc:sldMk cId="0" sldId="16776352"/>
            <ac:cxnSpMk id="30" creationId="{6F6993E4-A9A6-94E1-A556-126067F85DA0}"/>
          </ac:cxnSpMkLst>
        </pc:cxnChg>
        <pc:cxnChg chg="add mod">
          <ac:chgData name="he zhendong/0494938/何　振東" userId="022da341-ef73-48fb-bc20-f47322bbf998" providerId="ADAL" clId="{9E891F1E-6875-4812-ACD0-C456DB8467F3}" dt="2025-09-18T08:10:45.289" v="3713" actId="1076"/>
          <ac:cxnSpMkLst>
            <pc:docMk/>
            <pc:sldMk cId="0" sldId="16776352"/>
            <ac:cxnSpMk id="33" creationId="{795FF30D-DB80-CB33-286A-0ECBEC243CDB}"/>
          </ac:cxnSpMkLst>
        </pc:cxnChg>
        <pc:cxnChg chg="add mod">
          <ac:chgData name="he zhendong/0494938/何　振東" userId="022da341-ef73-48fb-bc20-f47322bbf998" providerId="ADAL" clId="{9E891F1E-6875-4812-ACD0-C456DB8467F3}" dt="2025-09-18T08:12:08.923" v="3781" actId="1037"/>
          <ac:cxnSpMkLst>
            <pc:docMk/>
            <pc:sldMk cId="0" sldId="16776352"/>
            <ac:cxnSpMk id="40" creationId="{BD20209A-CAB3-3DB2-13C7-8449EC82A657}"/>
          </ac:cxnSpMkLst>
        </pc:cxnChg>
        <pc:cxnChg chg="add mod">
          <ac:chgData name="he zhendong/0494938/何　振東" userId="022da341-ef73-48fb-bc20-f47322bbf998" providerId="ADAL" clId="{9E891F1E-6875-4812-ACD0-C456DB8467F3}" dt="2025-09-18T08:12:08.923" v="3781" actId="1037"/>
          <ac:cxnSpMkLst>
            <pc:docMk/>
            <pc:sldMk cId="0" sldId="16776352"/>
            <ac:cxnSpMk id="43" creationId="{F3370940-4D84-9F8D-5781-4C738154AA47}"/>
          </ac:cxnSpMkLst>
        </pc:cxnChg>
      </pc:sldChg>
      <pc:sldChg chg="delSp mod">
        <pc:chgData name="he zhendong/0494938/何　振東" userId="022da341-ef73-48fb-bc20-f47322bbf998" providerId="ADAL" clId="{9E891F1E-6875-4812-ACD0-C456DB8467F3}" dt="2025-09-18T07:28:36.676" v="2410" actId="478"/>
        <pc:sldMkLst>
          <pc:docMk/>
          <pc:sldMk cId="1363248825" sldId="16776359"/>
        </pc:sldMkLst>
        <pc:spChg chg="del">
          <ac:chgData name="he zhendong/0494938/何　振東" userId="022da341-ef73-48fb-bc20-f47322bbf998" providerId="ADAL" clId="{9E891F1E-6875-4812-ACD0-C456DB8467F3}" dt="2025-09-18T07:28:36.676" v="2410" actId="478"/>
          <ac:spMkLst>
            <pc:docMk/>
            <pc:sldMk cId="1363248825" sldId="16776359"/>
            <ac:spMk id="4" creationId="{C5058F42-8AFD-4182-1357-8602C1BBB01F}"/>
          </ac:spMkLst>
        </pc:spChg>
        <pc:spChg chg="del">
          <ac:chgData name="he zhendong/0494938/何　振東" userId="022da341-ef73-48fb-bc20-f47322bbf998" providerId="ADAL" clId="{9E891F1E-6875-4812-ACD0-C456DB8467F3}" dt="2025-09-18T07:28:36.676" v="2410" actId="478"/>
          <ac:spMkLst>
            <pc:docMk/>
            <pc:sldMk cId="1363248825" sldId="16776359"/>
            <ac:spMk id="9" creationId="{16F23AE7-E6A9-D16A-0F93-35862BD2378D}"/>
          </ac:spMkLst>
        </pc:spChg>
        <pc:spChg chg="del">
          <ac:chgData name="he zhendong/0494938/何　振東" userId="022da341-ef73-48fb-bc20-f47322bbf998" providerId="ADAL" clId="{9E891F1E-6875-4812-ACD0-C456DB8467F3}" dt="2025-09-18T07:28:36.676" v="2410" actId="478"/>
          <ac:spMkLst>
            <pc:docMk/>
            <pc:sldMk cId="1363248825" sldId="16776359"/>
            <ac:spMk id="25" creationId="{B470982F-B661-0746-3E94-8A8B330D7CE3}"/>
          </ac:spMkLst>
        </pc:spChg>
      </pc:sldChg>
      <pc:sldChg chg="addSp delSp modSp mod ord modClrScheme chgLayout">
        <pc:chgData name="he zhendong/0494938/何　振東" userId="022da341-ef73-48fb-bc20-f47322bbf998" providerId="ADAL" clId="{9E891F1E-6875-4812-ACD0-C456DB8467F3}" dt="2025-09-18T05:57:47.567" v="2269" actId="700"/>
        <pc:sldMkLst>
          <pc:docMk/>
          <pc:sldMk cId="2881211015" sldId="16776363"/>
        </pc:sldMkLst>
        <pc:spChg chg="add mod ord">
          <ac:chgData name="he zhendong/0494938/何　振東" userId="022da341-ef73-48fb-bc20-f47322bbf998" providerId="ADAL" clId="{9E891F1E-6875-4812-ACD0-C456DB8467F3}" dt="2025-09-18T05:57:47.567" v="2269" actId="700"/>
          <ac:spMkLst>
            <pc:docMk/>
            <pc:sldMk cId="2881211015" sldId="16776363"/>
            <ac:spMk id="2" creationId="{58E6BDEA-FC83-811B-2716-9CBF9335B9BA}"/>
          </ac:spMkLst>
        </pc:spChg>
        <pc:spChg chg="mod ord">
          <ac:chgData name="he zhendong/0494938/何　振東" userId="022da341-ef73-48fb-bc20-f47322bbf998" providerId="ADAL" clId="{9E891F1E-6875-4812-ACD0-C456DB8467F3}" dt="2025-09-18T05:57:47.567" v="2269" actId="700"/>
          <ac:spMkLst>
            <pc:docMk/>
            <pc:sldMk cId="2881211015" sldId="16776363"/>
            <ac:spMk id="4" creationId="{891E8B8E-8486-09C3-9D96-58B3ABABEB25}"/>
          </ac:spMkLst>
        </pc:spChg>
        <pc:spChg chg="del mod ord">
          <ac:chgData name="he zhendong/0494938/何　振東" userId="022da341-ef73-48fb-bc20-f47322bbf998" providerId="ADAL" clId="{9E891F1E-6875-4812-ACD0-C456DB8467F3}" dt="2025-09-18T05:57:47.567" v="2269" actId="700"/>
          <ac:spMkLst>
            <pc:docMk/>
            <pc:sldMk cId="2881211015" sldId="16776363"/>
            <ac:spMk id="5" creationId="{0E153B27-3C44-BC5F-66F9-750D2846250C}"/>
          </ac:spMkLst>
        </pc:spChg>
        <pc:spChg chg="del">
          <ac:chgData name="he zhendong/0494938/何　振東" userId="022da341-ef73-48fb-bc20-f47322bbf998" providerId="ADAL" clId="{9E891F1E-6875-4812-ACD0-C456DB8467F3}" dt="2025-09-18T05:57:47.567" v="2269" actId="700"/>
          <ac:spMkLst>
            <pc:docMk/>
            <pc:sldMk cId="2881211015" sldId="16776363"/>
            <ac:spMk id="6" creationId="{2EDA2163-E56A-11CA-3654-4831D328FDC5}"/>
          </ac:spMkLst>
        </pc:spChg>
      </pc:sldChg>
      <pc:sldChg chg="addSp delSp modSp add mod">
        <pc:chgData name="he zhendong/0494938/何　振東" userId="022da341-ef73-48fb-bc20-f47322bbf998" providerId="ADAL" clId="{9E891F1E-6875-4812-ACD0-C456DB8467F3}" dt="2025-09-18T08:58:29.519" v="5160" actId="14100"/>
        <pc:sldMkLst>
          <pc:docMk/>
          <pc:sldMk cId="1737784919" sldId="16776364"/>
        </pc:sldMkLst>
        <pc:spChg chg="mod">
          <ac:chgData name="he zhendong/0494938/何　振東" userId="022da341-ef73-48fb-bc20-f47322bbf998" providerId="ADAL" clId="{9E891F1E-6875-4812-ACD0-C456DB8467F3}" dt="2025-09-18T08:49:17.047" v="4448" actId="20577"/>
          <ac:spMkLst>
            <pc:docMk/>
            <pc:sldMk cId="1737784919" sldId="16776364"/>
            <ac:spMk id="2" creationId="{E4E7DFC3-2567-C19D-011B-FF966B155ACC}"/>
          </ac:spMkLst>
        </pc:spChg>
        <pc:spChg chg="del">
          <ac:chgData name="he zhendong/0494938/何　振東" userId="022da341-ef73-48fb-bc20-f47322bbf998" providerId="ADAL" clId="{9E891F1E-6875-4812-ACD0-C456DB8467F3}" dt="2025-09-18T08:45:37.057" v="4403" actId="478"/>
          <ac:spMkLst>
            <pc:docMk/>
            <pc:sldMk cId="1737784919" sldId="16776364"/>
            <ac:spMk id="3" creationId="{AB617290-9E2F-04E9-22B4-96CE819B95A6}"/>
          </ac:spMkLst>
        </pc:spChg>
        <pc:spChg chg="add mod">
          <ac:chgData name="he zhendong/0494938/何　振東" userId="022da341-ef73-48fb-bc20-f47322bbf998" providerId="ADAL" clId="{9E891F1E-6875-4812-ACD0-C456DB8467F3}" dt="2025-09-18T08:58:10.338" v="5155" actId="1076"/>
          <ac:spMkLst>
            <pc:docMk/>
            <pc:sldMk cId="1737784919" sldId="16776364"/>
            <ac:spMk id="5" creationId="{07BD27C6-F2DC-7472-D127-616D54BFA62E}"/>
          </ac:spMkLst>
        </pc:spChg>
        <pc:spChg chg="add mod">
          <ac:chgData name="he zhendong/0494938/何　振東" userId="022da341-ef73-48fb-bc20-f47322bbf998" providerId="ADAL" clId="{9E891F1E-6875-4812-ACD0-C456DB8467F3}" dt="2025-09-18T08:58:29.519" v="5160" actId="14100"/>
          <ac:spMkLst>
            <pc:docMk/>
            <pc:sldMk cId="1737784919" sldId="16776364"/>
            <ac:spMk id="6" creationId="{9AFC5A8A-1F4E-61BF-A8DA-B444B8655B2C}"/>
          </ac:spMkLst>
        </pc:spChg>
        <pc:spChg chg="mod">
          <ac:chgData name="he zhendong/0494938/何　振東" userId="022da341-ef73-48fb-bc20-f47322bbf998" providerId="ADAL" clId="{9E891F1E-6875-4812-ACD0-C456DB8467F3}" dt="2025-09-18T08:57:38.570" v="5147" actId="20577"/>
          <ac:spMkLst>
            <pc:docMk/>
            <pc:sldMk cId="1737784919" sldId="16776364"/>
            <ac:spMk id="15" creationId="{3FD1C739-5DD0-ADCD-D9FB-6440AEDE687F}"/>
          </ac:spMkLst>
        </pc:spChg>
        <pc:graphicFrameChg chg="add mod modGraphic">
          <ac:chgData name="he zhendong/0494938/何　振東" userId="022da341-ef73-48fb-bc20-f47322bbf998" providerId="ADAL" clId="{9E891F1E-6875-4812-ACD0-C456DB8467F3}" dt="2025-09-18T08:58:10.338" v="5155" actId="1076"/>
          <ac:graphicFrameMkLst>
            <pc:docMk/>
            <pc:sldMk cId="1737784919" sldId="16776364"/>
            <ac:graphicFrameMk id="4" creationId="{83EDAD6E-DA98-32A4-512A-FC93FEBFEFD1}"/>
          </ac:graphicFrameMkLst>
        </pc:graphicFrameChg>
        <pc:picChg chg="add mod">
          <ac:chgData name="he zhendong/0494938/何　振東" userId="022da341-ef73-48fb-bc20-f47322bbf998" providerId="ADAL" clId="{9E891F1E-6875-4812-ACD0-C456DB8467F3}" dt="2025-09-18T08:58:13.815" v="5157" actId="1076"/>
          <ac:picMkLst>
            <pc:docMk/>
            <pc:sldMk cId="1737784919" sldId="16776364"/>
            <ac:picMk id="3074" creationId="{2F5C4424-93FB-92F0-8866-02FE9EBA1073}"/>
          </ac:picMkLst>
        </pc:picChg>
      </pc:sldChg>
    </pc:docChg>
  </pc:docChgLst>
  <pc:docChgLst>
    <pc:chgData name="zhang lei/0897280/張　磊" userId="da02d54a-4a7c-4aa9-8f53-f33a19c6b65f" providerId="ADAL" clId="{1AAB3108-9881-428E-AC54-A8A160C47117}"/>
    <pc:docChg chg="undo redo custSel delSld modSld modSection">
      <pc:chgData name="zhang lei/0897280/張　磊" userId="da02d54a-4a7c-4aa9-8f53-f33a19c6b65f" providerId="ADAL" clId="{1AAB3108-9881-428E-AC54-A8A160C47117}" dt="2025-09-18T13:58:56.242" v="724" actId="207"/>
      <pc:docMkLst>
        <pc:docMk/>
      </pc:docMkLst>
      <pc:sldChg chg="modSp mod">
        <pc:chgData name="zhang lei/0897280/張　磊" userId="da02d54a-4a7c-4aa9-8f53-f33a19c6b65f" providerId="ADAL" clId="{1AAB3108-9881-428E-AC54-A8A160C47117}" dt="2025-09-18T05:22:35.985" v="12" actId="20577"/>
        <pc:sldMkLst>
          <pc:docMk/>
          <pc:sldMk cId="0" sldId="16772939"/>
        </pc:sldMkLst>
        <pc:spChg chg="mod">
          <ac:chgData name="zhang lei/0897280/張　磊" userId="da02d54a-4a7c-4aa9-8f53-f33a19c6b65f" providerId="ADAL" clId="{1AAB3108-9881-428E-AC54-A8A160C47117}" dt="2025-09-18T05:22:35.985" v="12" actId="20577"/>
          <ac:spMkLst>
            <pc:docMk/>
            <pc:sldMk cId="0" sldId="16772939"/>
            <ac:spMk id="5" creationId="{00000000-0000-0000-0000-000000000000}"/>
          </ac:spMkLst>
        </pc:spChg>
      </pc:sldChg>
      <pc:sldChg chg="modSp mod">
        <pc:chgData name="zhang lei/0897280/張　磊" userId="da02d54a-4a7c-4aa9-8f53-f33a19c6b65f" providerId="ADAL" clId="{1AAB3108-9881-428E-AC54-A8A160C47117}" dt="2025-09-18T13:58:56.242" v="724" actId="207"/>
        <pc:sldMkLst>
          <pc:docMk/>
          <pc:sldMk cId="0" sldId="16772962"/>
        </pc:sldMkLst>
        <pc:spChg chg="mod">
          <ac:chgData name="zhang lei/0897280/張　磊" userId="da02d54a-4a7c-4aa9-8f53-f33a19c6b65f" providerId="ADAL" clId="{1AAB3108-9881-428E-AC54-A8A160C47117}" dt="2025-09-18T13:58:56.242" v="724" actId="207"/>
          <ac:spMkLst>
            <pc:docMk/>
            <pc:sldMk cId="0" sldId="16772962"/>
            <ac:spMk id="5" creationId="{5F2B4342-4843-AA7D-BBBC-EEDC3E1CB57B}"/>
          </ac:spMkLst>
        </pc:spChg>
        <pc:graphicFrameChg chg="mod modGraphic">
          <ac:chgData name="zhang lei/0897280/張　磊" userId="da02d54a-4a7c-4aa9-8f53-f33a19c6b65f" providerId="ADAL" clId="{1AAB3108-9881-428E-AC54-A8A160C47117}" dt="2025-09-18T13:58:01.825" v="712" actId="20577"/>
          <ac:graphicFrameMkLst>
            <pc:docMk/>
            <pc:sldMk cId="0" sldId="16772962"/>
            <ac:graphicFrameMk id="8" creationId="{EA5FED8C-15C3-BBF2-E85B-99DBE2ED9970}"/>
          </ac:graphicFrameMkLst>
        </pc:graphicFrameChg>
      </pc:sldChg>
      <pc:sldChg chg="delSp modSp mod">
        <pc:chgData name="zhang lei/0897280/張　磊" userId="da02d54a-4a7c-4aa9-8f53-f33a19c6b65f" providerId="ADAL" clId="{1AAB3108-9881-428E-AC54-A8A160C47117}" dt="2025-09-18T13:20:08.921" v="400" actId="478"/>
        <pc:sldMkLst>
          <pc:docMk/>
          <pc:sldMk cId="490570015" sldId="16776353"/>
        </pc:sldMkLst>
        <pc:spChg chg="mod">
          <ac:chgData name="zhang lei/0897280/張　磊" userId="da02d54a-4a7c-4aa9-8f53-f33a19c6b65f" providerId="ADAL" clId="{1AAB3108-9881-428E-AC54-A8A160C47117}" dt="2025-09-18T13:19:40.002" v="399" actId="6549"/>
          <ac:spMkLst>
            <pc:docMk/>
            <pc:sldMk cId="490570015" sldId="16776353"/>
            <ac:spMk id="2" creationId="{1E0A3B2A-7E2F-F016-3731-A5F75381D9F3}"/>
          </ac:spMkLst>
        </pc:spChg>
        <pc:spChg chg="del">
          <ac:chgData name="zhang lei/0897280/張　磊" userId="da02d54a-4a7c-4aa9-8f53-f33a19c6b65f" providerId="ADAL" clId="{1AAB3108-9881-428E-AC54-A8A160C47117}" dt="2025-09-18T13:20:08.921" v="400" actId="478"/>
          <ac:spMkLst>
            <pc:docMk/>
            <pc:sldMk cId="490570015" sldId="16776353"/>
            <ac:spMk id="3" creationId="{57EFF51B-B165-8973-04EF-F6D6F76C8E95}"/>
          </ac:spMkLst>
        </pc:spChg>
      </pc:sldChg>
      <pc:sldChg chg="delSp mod">
        <pc:chgData name="zhang lei/0897280/張　磊" userId="da02d54a-4a7c-4aa9-8f53-f33a19c6b65f" providerId="ADAL" clId="{1AAB3108-9881-428E-AC54-A8A160C47117}" dt="2025-09-18T13:20:12.367" v="401" actId="478"/>
        <pc:sldMkLst>
          <pc:docMk/>
          <pc:sldMk cId="670289832" sldId="16776354"/>
        </pc:sldMkLst>
        <pc:spChg chg="del">
          <ac:chgData name="zhang lei/0897280/張　磊" userId="da02d54a-4a7c-4aa9-8f53-f33a19c6b65f" providerId="ADAL" clId="{1AAB3108-9881-428E-AC54-A8A160C47117}" dt="2025-09-18T13:20:12.367" v="401" actId="478"/>
          <ac:spMkLst>
            <pc:docMk/>
            <pc:sldMk cId="670289832" sldId="16776354"/>
            <ac:spMk id="3" creationId="{7631236C-2F20-0ED4-8559-6FCBCD4FF640}"/>
          </ac:spMkLst>
        </pc:spChg>
      </pc:sldChg>
      <pc:sldChg chg="delSp mod">
        <pc:chgData name="zhang lei/0897280/張　磊" userId="da02d54a-4a7c-4aa9-8f53-f33a19c6b65f" providerId="ADAL" clId="{1AAB3108-9881-428E-AC54-A8A160C47117}" dt="2025-09-18T13:20:15.738" v="402" actId="478"/>
        <pc:sldMkLst>
          <pc:docMk/>
          <pc:sldMk cId="3766533062" sldId="16776355"/>
        </pc:sldMkLst>
        <pc:spChg chg="del">
          <ac:chgData name="zhang lei/0897280/張　磊" userId="da02d54a-4a7c-4aa9-8f53-f33a19c6b65f" providerId="ADAL" clId="{1AAB3108-9881-428E-AC54-A8A160C47117}" dt="2025-09-18T13:20:15.738" v="402" actId="478"/>
          <ac:spMkLst>
            <pc:docMk/>
            <pc:sldMk cId="3766533062" sldId="16776355"/>
            <ac:spMk id="3" creationId="{91479D9C-11AA-081A-7A98-032B1F1E7D68}"/>
          </ac:spMkLst>
        </pc:spChg>
      </pc:sldChg>
      <pc:sldChg chg="delSp mod">
        <pc:chgData name="zhang lei/0897280/張　磊" userId="da02d54a-4a7c-4aa9-8f53-f33a19c6b65f" providerId="ADAL" clId="{1AAB3108-9881-428E-AC54-A8A160C47117}" dt="2025-09-18T13:20:38.072" v="403" actId="478"/>
        <pc:sldMkLst>
          <pc:docMk/>
          <pc:sldMk cId="2578704490" sldId="16776356"/>
        </pc:sldMkLst>
        <pc:spChg chg="del">
          <ac:chgData name="zhang lei/0897280/張　磊" userId="da02d54a-4a7c-4aa9-8f53-f33a19c6b65f" providerId="ADAL" clId="{1AAB3108-9881-428E-AC54-A8A160C47117}" dt="2025-09-18T13:20:38.072" v="403" actId="478"/>
          <ac:spMkLst>
            <pc:docMk/>
            <pc:sldMk cId="2578704490" sldId="16776356"/>
            <ac:spMk id="3" creationId="{B617B8EE-3C4C-D766-4A28-7FB6BD2D32DD}"/>
          </ac:spMkLst>
        </pc:spChg>
      </pc:sldChg>
      <pc:sldChg chg="addSp delSp modSp del mod">
        <pc:chgData name="zhang lei/0897280/張　磊" userId="da02d54a-4a7c-4aa9-8f53-f33a19c6b65f" providerId="ADAL" clId="{1AAB3108-9881-428E-AC54-A8A160C47117}" dt="2025-09-18T13:44:32.654" v="460" actId="47"/>
        <pc:sldMkLst>
          <pc:docMk/>
          <pc:sldMk cId="1363248825" sldId="16776359"/>
        </pc:sldMkLst>
        <pc:spChg chg="mod">
          <ac:chgData name="zhang lei/0897280/張　磊" userId="da02d54a-4a7c-4aa9-8f53-f33a19c6b65f" providerId="ADAL" clId="{1AAB3108-9881-428E-AC54-A8A160C47117}" dt="2025-09-18T05:42:47.095" v="42" actId="1076"/>
          <ac:spMkLst>
            <pc:docMk/>
            <pc:sldMk cId="1363248825" sldId="16776359"/>
            <ac:spMk id="2" creationId="{B6B9867A-62C0-BEA9-3502-CE7ABBD69C4C}"/>
          </ac:spMkLst>
        </pc:spChg>
        <pc:spChg chg="mod">
          <ac:chgData name="zhang lei/0897280/張　磊" userId="da02d54a-4a7c-4aa9-8f53-f33a19c6b65f" providerId="ADAL" clId="{1AAB3108-9881-428E-AC54-A8A160C47117}" dt="2025-09-18T05:45:25.247" v="60" actId="1076"/>
          <ac:spMkLst>
            <pc:docMk/>
            <pc:sldMk cId="1363248825" sldId="16776359"/>
            <ac:spMk id="4" creationId="{C5058F42-8AFD-4182-1357-8602C1BBB01F}"/>
          </ac:spMkLst>
        </pc:spChg>
        <pc:spChg chg="mod">
          <ac:chgData name="zhang lei/0897280/張　磊" userId="da02d54a-4a7c-4aa9-8f53-f33a19c6b65f" providerId="ADAL" clId="{1AAB3108-9881-428E-AC54-A8A160C47117}" dt="2025-09-18T05:41:14.828" v="26" actId="1076"/>
          <ac:spMkLst>
            <pc:docMk/>
            <pc:sldMk cId="1363248825" sldId="16776359"/>
            <ac:spMk id="9" creationId="{16F23AE7-E6A9-D16A-0F93-35862BD2378D}"/>
          </ac:spMkLst>
        </pc:spChg>
        <pc:spChg chg="add mod">
          <ac:chgData name="zhang lei/0897280/張　磊" userId="da02d54a-4a7c-4aa9-8f53-f33a19c6b65f" providerId="ADAL" clId="{1AAB3108-9881-428E-AC54-A8A160C47117}" dt="2025-09-18T05:42:54.872" v="58"/>
          <ac:spMkLst>
            <pc:docMk/>
            <pc:sldMk cId="1363248825" sldId="16776359"/>
            <ac:spMk id="13" creationId="{FC011250-1A6B-467E-FBD1-9101488E2647}"/>
          </ac:spMkLst>
        </pc:spChg>
        <pc:spChg chg="add mod">
          <ac:chgData name="zhang lei/0897280/張　磊" userId="da02d54a-4a7c-4aa9-8f53-f33a19c6b65f" providerId="ADAL" clId="{1AAB3108-9881-428E-AC54-A8A160C47117}" dt="2025-09-18T05:56:15.031" v="106" actId="1076"/>
          <ac:spMkLst>
            <pc:docMk/>
            <pc:sldMk cId="1363248825" sldId="16776359"/>
            <ac:spMk id="18" creationId="{3BD1E701-6E02-6916-CFB0-C265881F5A76}"/>
          </ac:spMkLst>
        </pc:spChg>
        <pc:spChg chg="add mod">
          <ac:chgData name="zhang lei/0897280/張　磊" userId="da02d54a-4a7c-4aa9-8f53-f33a19c6b65f" providerId="ADAL" clId="{1AAB3108-9881-428E-AC54-A8A160C47117}" dt="2025-09-18T06:09:13.682" v="148"/>
          <ac:spMkLst>
            <pc:docMk/>
            <pc:sldMk cId="1363248825" sldId="16776359"/>
            <ac:spMk id="24" creationId="{57A1C24C-4317-D323-6D03-BE0C2F0CF743}"/>
          </ac:spMkLst>
        </pc:spChg>
        <pc:spChg chg="add mod">
          <ac:chgData name="zhang lei/0897280/張　磊" userId="da02d54a-4a7c-4aa9-8f53-f33a19c6b65f" providerId="ADAL" clId="{1AAB3108-9881-428E-AC54-A8A160C47117}" dt="2025-09-18T06:09:27.968" v="150" actId="1076"/>
          <ac:spMkLst>
            <pc:docMk/>
            <pc:sldMk cId="1363248825" sldId="16776359"/>
            <ac:spMk id="25" creationId="{B470982F-B661-0746-3E94-8A8B330D7CE3}"/>
          </ac:spMkLst>
        </pc:spChg>
        <pc:graphicFrameChg chg="add mod">
          <ac:chgData name="zhang lei/0897280/張　磊" userId="da02d54a-4a7c-4aa9-8f53-f33a19c6b65f" providerId="ADAL" clId="{1AAB3108-9881-428E-AC54-A8A160C47117}" dt="2025-09-18T05:40:53.587" v="18"/>
          <ac:graphicFrameMkLst>
            <pc:docMk/>
            <pc:sldMk cId="1363248825" sldId="16776359"/>
            <ac:graphicFrameMk id="3" creationId="{BC398D31-BA34-FB93-ADE4-A546EEC0E64D}"/>
          </ac:graphicFrameMkLst>
        </pc:graphicFrameChg>
        <pc:graphicFrameChg chg="add del mod modGraphic">
          <ac:chgData name="zhang lei/0897280/張　磊" userId="da02d54a-4a7c-4aa9-8f53-f33a19c6b65f" providerId="ADAL" clId="{1AAB3108-9881-428E-AC54-A8A160C47117}" dt="2025-09-18T05:41:40.391" v="28" actId="478"/>
          <ac:graphicFrameMkLst>
            <pc:docMk/>
            <pc:sldMk cId="1363248825" sldId="16776359"/>
            <ac:graphicFrameMk id="5" creationId="{5BF77998-F346-D5A6-6620-570ACBA2B13F}"/>
          </ac:graphicFrameMkLst>
        </pc:graphicFrameChg>
        <pc:graphicFrameChg chg="del">
          <ac:chgData name="zhang lei/0897280/張　磊" userId="da02d54a-4a7c-4aa9-8f53-f33a19c6b65f" providerId="ADAL" clId="{1AAB3108-9881-428E-AC54-A8A160C47117}" dt="2025-09-18T05:40:52.071" v="17" actId="478"/>
          <ac:graphicFrameMkLst>
            <pc:docMk/>
            <pc:sldMk cId="1363248825" sldId="16776359"/>
            <ac:graphicFrameMk id="6" creationId="{97CF48F6-2B44-FA45-9017-8712DBF52F9F}"/>
          </ac:graphicFrameMkLst>
        </pc:graphicFrameChg>
        <pc:graphicFrameChg chg="add mod">
          <ac:chgData name="zhang lei/0897280/張　磊" userId="da02d54a-4a7c-4aa9-8f53-f33a19c6b65f" providerId="ADAL" clId="{1AAB3108-9881-428E-AC54-A8A160C47117}" dt="2025-09-18T05:41:41.368" v="29"/>
          <ac:graphicFrameMkLst>
            <pc:docMk/>
            <pc:sldMk cId="1363248825" sldId="16776359"/>
            <ac:graphicFrameMk id="7" creationId="{AD34BA58-DB37-0B1F-9D9A-309191DA180F}"/>
          </ac:graphicFrameMkLst>
        </pc:graphicFrameChg>
        <pc:graphicFrameChg chg="add del mod">
          <ac:chgData name="zhang lei/0897280/張　磊" userId="da02d54a-4a7c-4aa9-8f53-f33a19c6b65f" providerId="ADAL" clId="{1AAB3108-9881-428E-AC54-A8A160C47117}" dt="2025-09-18T05:42:15.296" v="32" actId="478"/>
          <ac:graphicFrameMkLst>
            <pc:docMk/>
            <pc:sldMk cId="1363248825" sldId="16776359"/>
            <ac:graphicFrameMk id="8" creationId="{9926EC64-A4BC-25F3-B676-48558163404F}"/>
          </ac:graphicFrameMkLst>
        </pc:graphicFrameChg>
        <pc:graphicFrameChg chg="del mod">
          <ac:chgData name="zhang lei/0897280/張　磊" userId="da02d54a-4a7c-4aa9-8f53-f33a19c6b65f" providerId="ADAL" clId="{1AAB3108-9881-428E-AC54-A8A160C47117}" dt="2025-09-18T05:45:28.419" v="61" actId="478"/>
          <ac:graphicFrameMkLst>
            <pc:docMk/>
            <pc:sldMk cId="1363248825" sldId="16776359"/>
            <ac:graphicFrameMk id="10" creationId="{B8830024-49FD-84AB-228E-FBAE1232EF4F}"/>
          </ac:graphicFrameMkLst>
        </pc:graphicFrameChg>
        <pc:graphicFrameChg chg="add mod">
          <ac:chgData name="zhang lei/0897280/張　磊" userId="da02d54a-4a7c-4aa9-8f53-f33a19c6b65f" providerId="ADAL" clId="{1AAB3108-9881-428E-AC54-A8A160C47117}" dt="2025-09-18T05:42:17.081" v="33"/>
          <ac:graphicFrameMkLst>
            <pc:docMk/>
            <pc:sldMk cId="1363248825" sldId="16776359"/>
            <ac:graphicFrameMk id="11" creationId="{F19D4691-CC40-E63E-F459-09CB1594FEB2}"/>
          </ac:graphicFrameMkLst>
        </pc:graphicFrameChg>
        <pc:graphicFrameChg chg="add del mod modGraphic">
          <ac:chgData name="zhang lei/0897280/張　磊" userId="da02d54a-4a7c-4aa9-8f53-f33a19c6b65f" providerId="ADAL" clId="{1AAB3108-9881-428E-AC54-A8A160C47117}" dt="2025-09-18T05:55:20.409" v="95" actId="478"/>
          <ac:graphicFrameMkLst>
            <pc:docMk/>
            <pc:sldMk cId="1363248825" sldId="16776359"/>
            <ac:graphicFrameMk id="12" creationId="{CA883945-F808-3F6A-03EC-360C8D3A7602}"/>
          </ac:graphicFrameMkLst>
        </pc:graphicFrameChg>
        <pc:graphicFrameChg chg="add del mod">
          <ac:chgData name="zhang lei/0897280/張　磊" userId="da02d54a-4a7c-4aa9-8f53-f33a19c6b65f" providerId="ADAL" clId="{1AAB3108-9881-428E-AC54-A8A160C47117}" dt="2025-09-18T05:47:09.250" v="63" actId="478"/>
          <ac:graphicFrameMkLst>
            <pc:docMk/>
            <pc:sldMk cId="1363248825" sldId="16776359"/>
            <ac:graphicFrameMk id="14" creationId="{3F84E19F-9402-F53E-25BE-E7DA2E2C18E4}"/>
          </ac:graphicFrameMkLst>
        </pc:graphicFrameChg>
        <pc:graphicFrameChg chg="add mod">
          <ac:chgData name="zhang lei/0897280/張　磊" userId="da02d54a-4a7c-4aa9-8f53-f33a19c6b65f" providerId="ADAL" clId="{1AAB3108-9881-428E-AC54-A8A160C47117}" dt="2025-09-18T05:47:14.528" v="66" actId="1076"/>
          <ac:graphicFrameMkLst>
            <pc:docMk/>
            <pc:sldMk cId="1363248825" sldId="16776359"/>
            <ac:graphicFrameMk id="15" creationId="{727B4619-CC18-EC8B-27F0-198EC0084543}"/>
          </ac:graphicFrameMkLst>
        </pc:graphicFrameChg>
        <pc:graphicFrameChg chg="add mod">
          <ac:chgData name="zhang lei/0897280/張　磊" userId="da02d54a-4a7c-4aa9-8f53-f33a19c6b65f" providerId="ADAL" clId="{1AAB3108-9881-428E-AC54-A8A160C47117}" dt="2025-09-18T05:47:15.794" v="67"/>
          <ac:graphicFrameMkLst>
            <pc:docMk/>
            <pc:sldMk cId="1363248825" sldId="16776359"/>
            <ac:graphicFrameMk id="16" creationId="{BE89AC76-495E-938F-8B49-28A84165E1F1}"/>
          </ac:graphicFrameMkLst>
        </pc:graphicFrameChg>
        <pc:graphicFrameChg chg="add mod modGraphic">
          <ac:chgData name="zhang lei/0897280/張　磊" userId="da02d54a-4a7c-4aa9-8f53-f33a19c6b65f" providerId="ADAL" clId="{1AAB3108-9881-428E-AC54-A8A160C47117}" dt="2025-09-18T05:56:10.515" v="104" actId="255"/>
          <ac:graphicFrameMkLst>
            <pc:docMk/>
            <pc:sldMk cId="1363248825" sldId="16776359"/>
            <ac:graphicFrameMk id="17" creationId="{BF817830-24F0-6F66-6161-A058AF789B31}"/>
          </ac:graphicFrameMkLst>
        </pc:graphicFrameChg>
        <pc:graphicFrameChg chg="add mod">
          <ac:chgData name="zhang lei/0897280/張　磊" userId="da02d54a-4a7c-4aa9-8f53-f33a19c6b65f" providerId="ADAL" clId="{1AAB3108-9881-428E-AC54-A8A160C47117}" dt="2025-09-18T05:55:21.733" v="96"/>
          <ac:graphicFrameMkLst>
            <pc:docMk/>
            <pc:sldMk cId="1363248825" sldId="16776359"/>
            <ac:graphicFrameMk id="19" creationId="{45F37A75-2A01-0C59-57EF-5308941CD83B}"/>
          </ac:graphicFrameMkLst>
        </pc:graphicFrameChg>
        <pc:graphicFrameChg chg="add mod modGraphic">
          <ac:chgData name="zhang lei/0897280/張　磊" userId="da02d54a-4a7c-4aa9-8f53-f33a19c6b65f" providerId="ADAL" clId="{1AAB3108-9881-428E-AC54-A8A160C47117}" dt="2025-09-18T05:56:07.183" v="103" actId="255"/>
          <ac:graphicFrameMkLst>
            <pc:docMk/>
            <pc:sldMk cId="1363248825" sldId="16776359"/>
            <ac:graphicFrameMk id="20" creationId="{96D562C3-A786-E870-61D8-369E792AF00A}"/>
          </ac:graphicFrameMkLst>
        </pc:graphicFrameChg>
        <pc:graphicFrameChg chg="add mod">
          <ac:chgData name="zhang lei/0897280/張　磊" userId="da02d54a-4a7c-4aa9-8f53-f33a19c6b65f" providerId="ADAL" clId="{1AAB3108-9881-428E-AC54-A8A160C47117}" dt="2025-09-18T06:07:58.744" v="107"/>
          <ac:graphicFrameMkLst>
            <pc:docMk/>
            <pc:sldMk cId="1363248825" sldId="16776359"/>
            <ac:graphicFrameMk id="21" creationId="{EEE32097-24D8-C9BC-E2D7-1DC6BC212A4A}"/>
          </ac:graphicFrameMkLst>
        </pc:graphicFrameChg>
        <pc:graphicFrameChg chg="add mod">
          <ac:chgData name="zhang lei/0897280/張　磊" userId="da02d54a-4a7c-4aa9-8f53-f33a19c6b65f" providerId="ADAL" clId="{1AAB3108-9881-428E-AC54-A8A160C47117}" dt="2025-09-18T06:08:29.196" v="108"/>
          <ac:graphicFrameMkLst>
            <pc:docMk/>
            <pc:sldMk cId="1363248825" sldId="16776359"/>
            <ac:graphicFrameMk id="22" creationId="{8A09421D-333A-2767-4BD5-FFEA5551D7A0}"/>
          </ac:graphicFrameMkLst>
        </pc:graphicFrameChg>
        <pc:graphicFrameChg chg="add mod modGraphic">
          <ac:chgData name="zhang lei/0897280/張　磊" userId="da02d54a-4a7c-4aa9-8f53-f33a19c6b65f" providerId="ADAL" clId="{1AAB3108-9881-428E-AC54-A8A160C47117}" dt="2025-09-18T06:09:03.575" v="114" actId="1076"/>
          <ac:graphicFrameMkLst>
            <pc:docMk/>
            <pc:sldMk cId="1363248825" sldId="16776359"/>
            <ac:graphicFrameMk id="23" creationId="{3306E5EF-AE46-5DBC-E850-DDED2E4D8E2B}"/>
          </ac:graphicFrameMkLst>
        </pc:graphicFrameChg>
      </pc:sldChg>
      <pc:sldChg chg="del">
        <pc:chgData name="zhang lei/0897280/張　磊" userId="da02d54a-4a7c-4aa9-8f53-f33a19c6b65f" providerId="ADAL" clId="{1AAB3108-9881-428E-AC54-A8A160C47117}" dt="2025-09-18T06:09:34.130" v="151" actId="47"/>
        <pc:sldMkLst>
          <pc:docMk/>
          <pc:sldMk cId="38579905" sldId="16776361"/>
        </pc:sldMkLst>
      </pc:sldChg>
      <pc:sldChg chg="addSp modSp mod">
        <pc:chgData name="zhang lei/0897280/張　磊" userId="da02d54a-4a7c-4aa9-8f53-f33a19c6b65f" providerId="ADAL" clId="{1AAB3108-9881-428E-AC54-A8A160C47117}" dt="2025-09-18T13:14:41.786" v="349" actId="14100"/>
        <pc:sldMkLst>
          <pc:docMk/>
          <pc:sldMk cId="1737784919" sldId="16776364"/>
        </pc:sldMkLst>
        <pc:spChg chg="add mod">
          <ac:chgData name="zhang lei/0897280/張　磊" userId="da02d54a-4a7c-4aa9-8f53-f33a19c6b65f" providerId="ADAL" clId="{1AAB3108-9881-428E-AC54-A8A160C47117}" dt="2025-09-18T13:14:41.786" v="349" actId="14100"/>
          <ac:spMkLst>
            <pc:docMk/>
            <pc:sldMk cId="1737784919" sldId="16776364"/>
            <ac:spMk id="3" creationId="{266040C3-99F6-688E-F0C0-9A7AB40BB3E6}"/>
          </ac:spMkLst>
        </pc:spChg>
      </pc:sldChg>
    </pc:docChg>
  </pc:docChgLst>
  <pc:docChgLst>
    <pc:chgData name="he zhendong/0494938/何　振東" userId="S::0494938@mchcgr.com::022da341-ef73-48fb-bc20-f47322bbf998" providerId="AD" clId="Web-{5C017211-4FD9-4E05-B20F-919C8812E71E}"/>
    <pc:docChg chg="modSld">
      <pc:chgData name="he zhendong/0494938/何　振東" userId="S::0494938@mchcgr.com::022da341-ef73-48fb-bc20-f47322bbf998" providerId="AD" clId="Web-{5C017211-4FD9-4E05-B20F-919C8812E71E}" dt="2025-09-18T09:13:58.291" v="17" actId="20577"/>
      <pc:docMkLst>
        <pc:docMk/>
      </pc:docMkLst>
      <pc:sldChg chg="modSp">
        <pc:chgData name="he zhendong/0494938/何　振東" userId="S::0494938@mchcgr.com::022da341-ef73-48fb-bc20-f47322bbf998" providerId="AD" clId="Web-{5C017211-4FD9-4E05-B20F-919C8812E71E}" dt="2025-09-18T09:13:58.291" v="17" actId="20577"/>
        <pc:sldMkLst>
          <pc:docMk/>
          <pc:sldMk cId="0" sldId="16772972"/>
        </pc:sldMkLst>
        <pc:spChg chg="mod">
          <ac:chgData name="he zhendong/0494938/何　振東" userId="S::0494938@mchcgr.com::022da341-ef73-48fb-bc20-f47322bbf998" providerId="AD" clId="Web-{5C017211-4FD9-4E05-B20F-919C8812E71E}" dt="2025-09-18T09:13:58.291" v="17" actId="20577"/>
          <ac:spMkLst>
            <pc:docMk/>
            <pc:sldMk cId="0" sldId="16772972"/>
            <ac:spMk id="55" creationId="{00000000-0000-0000-0000-000000000000}"/>
          </ac:spMkLst>
        </pc:spChg>
      </pc:sldChg>
    </pc:docChg>
  </pc:docChgLst>
  <pc:docChgLst>
    <pc:chgData name="higashiya naoki/0897279/東谷　直樹" userId="ab4885b7-8773-4471-b98b-f744550e344e" providerId="ADAL" clId="{76E4468A-B54F-4416-9B82-E603C92EB1A3}"/>
    <pc:docChg chg="undo custSel modSld">
      <pc:chgData name="higashiya naoki/0897279/東谷　直樹" userId="ab4885b7-8773-4471-b98b-f744550e344e" providerId="ADAL" clId="{76E4468A-B54F-4416-9B82-E603C92EB1A3}" dt="2025-09-18T10:52:08.355" v="161"/>
      <pc:docMkLst>
        <pc:docMk/>
      </pc:docMkLst>
      <pc:sldChg chg="modSp">
        <pc:chgData name="higashiya naoki/0897279/東谷　直樹" userId="ab4885b7-8773-4471-b98b-f744550e344e" providerId="ADAL" clId="{76E4468A-B54F-4416-9B82-E603C92EB1A3}" dt="2025-09-18T05:24:05.920" v="14"/>
        <pc:sldMkLst>
          <pc:docMk/>
          <pc:sldMk cId="0" sldId="16772937"/>
        </pc:sldMkLst>
        <pc:spChg chg="mod">
          <ac:chgData name="higashiya naoki/0897279/東谷　直樹" userId="ab4885b7-8773-4471-b98b-f744550e344e" providerId="ADAL" clId="{76E4468A-B54F-4416-9B82-E603C92EB1A3}" dt="2025-09-18T05:24:05.920" v="14"/>
          <ac:spMkLst>
            <pc:docMk/>
            <pc:sldMk cId="0" sldId="16772937"/>
            <ac:spMk id="5" creationId="{00000000-0000-0000-0000-000000000000}"/>
          </ac:spMkLst>
        </pc:spChg>
      </pc:sldChg>
      <pc:sldChg chg="modSp mod">
        <pc:chgData name="higashiya naoki/0897279/東谷　直樹" userId="ab4885b7-8773-4471-b98b-f744550e344e" providerId="ADAL" clId="{76E4468A-B54F-4416-9B82-E603C92EB1A3}" dt="2025-09-18T10:51:11.834" v="158"/>
        <pc:sldMkLst>
          <pc:docMk/>
          <pc:sldMk cId="0" sldId="16772939"/>
        </pc:sldMkLst>
        <pc:spChg chg="mod">
          <ac:chgData name="higashiya naoki/0897279/東谷　直樹" userId="ab4885b7-8773-4471-b98b-f744550e344e" providerId="ADAL" clId="{76E4468A-B54F-4416-9B82-E603C92EB1A3}" dt="2025-09-18T10:51:11.834" v="158"/>
          <ac:spMkLst>
            <pc:docMk/>
            <pc:sldMk cId="0" sldId="16772939"/>
            <ac:spMk id="4" creationId="{00000000-0000-0000-0000-000000000000}"/>
          </ac:spMkLst>
        </pc:spChg>
      </pc:sldChg>
      <pc:sldChg chg="modSp mod">
        <pc:chgData name="higashiya naoki/0897279/東谷　直樹" userId="ab4885b7-8773-4471-b98b-f744550e344e" providerId="ADAL" clId="{76E4468A-B54F-4416-9B82-E603C92EB1A3}" dt="2025-09-18T05:17:03.935" v="13" actId="20577"/>
        <pc:sldMkLst>
          <pc:docMk/>
          <pc:sldMk cId="0" sldId="16772940"/>
        </pc:sldMkLst>
        <pc:spChg chg="mod">
          <ac:chgData name="higashiya naoki/0897279/東谷　直樹" userId="ab4885b7-8773-4471-b98b-f744550e344e" providerId="ADAL" clId="{76E4468A-B54F-4416-9B82-E603C92EB1A3}" dt="2025-09-18T05:17:03.935" v="13" actId="20577"/>
          <ac:spMkLst>
            <pc:docMk/>
            <pc:sldMk cId="0" sldId="16772940"/>
            <ac:spMk id="15" creationId="{00000000-0000-0000-0000-000000000000}"/>
          </ac:spMkLst>
        </pc:spChg>
      </pc:sldChg>
      <pc:sldChg chg="modSp mod">
        <pc:chgData name="higashiya naoki/0897279/東谷　直樹" userId="ab4885b7-8773-4471-b98b-f744550e344e" providerId="ADAL" clId="{76E4468A-B54F-4416-9B82-E603C92EB1A3}" dt="2025-09-18T05:25:13.093" v="57" actId="6549"/>
        <pc:sldMkLst>
          <pc:docMk/>
          <pc:sldMk cId="0" sldId="16772945"/>
        </pc:sldMkLst>
        <pc:spChg chg="mod">
          <ac:chgData name="higashiya naoki/0897279/東谷　直樹" userId="ab4885b7-8773-4471-b98b-f744550e344e" providerId="ADAL" clId="{76E4468A-B54F-4416-9B82-E603C92EB1A3}" dt="2025-09-18T05:25:13.093" v="57" actId="6549"/>
          <ac:spMkLst>
            <pc:docMk/>
            <pc:sldMk cId="0" sldId="16772945"/>
            <ac:spMk id="15" creationId="{00000000-0000-0000-0000-000000000000}"/>
          </ac:spMkLst>
        </pc:spChg>
      </pc:sldChg>
      <pc:sldChg chg="modSp mod">
        <pc:chgData name="higashiya naoki/0897279/東谷　直樹" userId="ab4885b7-8773-4471-b98b-f744550e344e" providerId="ADAL" clId="{76E4468A-B54F-4416-9B82-E603C92EB1A3}" dt="2025-09-18T05:30:01.337" v="106" actId="1076"/>
        <pc:sldMkLst>
          <pc:docMk/>
          <pc:sldMk cId="0" sldId="16772946"/>
        </pc:sldMkLst>
        <pc:spChg chg="mod">
          <ac:chgData name="higashiya naoki/0897279/東谷　直樹" userId="ab4885b7-8773-4471-b98b-f744550e344e" providerId="ADAL" clId="{76E4468A-B54F-4416-9B82-E603C92EB1A3}" dt="2025-09-18T05:30:01.337" v="106" actId="1076"/>
          <ac:spMkLst>
            <pc:docMk/>
            <pc:sldMk cId="0" sldId="16772946"/>
            <ac:spMk id="3" creationId="{00000000-0000-0000-0000-000000000000}"/>
          </ac:spMkLst>
        </pc:spChg>
        <pc:spChg chg="mod">
          <ac:chgData name="higashiya naoki/0897279/東谷　直樹" userId="ab4885b7-8773-4471-b98b-f744550e344e" providerId="ADAL" clId="{76E4468A-B54F-4416-9B82-E603C92EB1A3}" dt="2025-09-18T05:29:19.516" v="105" actId="20577"/>
          <ac:spMkLst>
            <pc:docMk/>
            <pc:sldMk cId="0" sldId="16772946"/>
            <ac:spMk id="15" creationId="{00000000-0000-0000-0000-000000000000}"/>
          </ac:spMkLst>
        </pc:spChg>
      </pc:sldChg>
      <pc:sldChg chg="modSp">
        <pc:chgData name="higashiya naoki/0897279/東谷　直樹" userId="ab4885b7-8773-4471-b98b-f744550e344e" providerId="ADAL" clId="{76E4468A-B54F-4416-9B82-E603C92EB1A3}" dt="2025-09-18T05:24:05.920" v="14"/>
        <pc:sldMkLst>
          <pc:docMk/>
          <pc:sldMk cId="2515339138" sldId="16772947"/>
        </pc:sldMkLst>
        <pc:spChg chg="mod">
          <ac:chgData name="higashiya naoki/0897279/東谷　直樹" userId="ab4885b7-8773-4471-b98b-f744550e344e" providerId="ADAL" clId="{76E4468A-B54F-4416-9B82-E603C92EB1A3}" dt="2025-09-18T05:24:05.920" v="14"/>
          <ac:spMkLst>
            <pc:docMk/>
            <pc:sldMk cId="2515339138" sldId="16772947"/>
            <ac:spMk id="55" creationId="{00000000-0000-0000-0000-000000000000}"/>
          </ac:spMkLst>
        </pc:spChg>
      </pc:sldChg>
      <pc:sldChg chg="modSp mod">
        <pc:chgData name="higashiya naoki/0897279/東谷　直樹" userId="ab4885b7-8773-4471-b98b-f744550e344e" providerId="ADAL" clId="{76E4468A-B54F-4416-9B82-E603C92EB1A3}" dt="2025-09-18T05:45:05.975" v="135" actId="6549"/>
        <pc:sldMkLst>
          <pc:docMk/>
          <pc:sldMk cId="0" sldId="16772953"/>
        </pc:sldMkLst>
        <pc:spChg chg="mod">
          <ac:chgData name="higashiya naoki/0897279/東谷　直樹" userId="ab4885b7-8773-4471-b98b-f744550e344e" providerId="ADAL" clId="{76E4468A-B54F-4416-9B82-E603C92EB1A3}" dt="2025-09-18T05:45:05.975" v="135" actId="6549"/>
          <ac:spMkLst>
            <pc:docMk/>
            <pc:sldMk cId="0" sldId="16772953"/>
            <ac:spMk id="15" creationId="{00000000-0000-0000-0000-000000000000}"/>
          </ac:spMkLst>
        </pc:spChg>
      </pc:sldChg>
      <pc:sldChg chg="modSp mod">
        <pc:chgData name="higashiya naoki/0897279/東谷　直樹" userId="ab4885b7-8773-4471-b98b-f744550e344e" providerId="ADAL" clId="{76E4468A-B54F-4416-9B82-E603C92EB1A3}" dt="2025-09-18T05:46:54.227" v="141" actId="6549"/>
        <pc:sldMkLst>
          <pc:docMk/>
          <pc:sldMk cId="0" sldId="16772956"/>
        </pc:sldMkLst>
        <pc:spChg chg="mod">
          <ac:chgData name="higashiya naoki/0897279/東谷　直樹" userId="ab4885b7-8773-4471-b98b-f744550e344e" providerId="ADAL" clId="{76E4468A-B54F-4416-9B82-E603C92EB1A3}" dt="2025-09-18T05:46:54.227" v="141" actId="6549"/>
          <ac:spMkLst>
            <pc:docMk/>
            <pc:sldMk cId="0" sldId="16772956"/>
            <ac:spMk id="15" creationId="{00000000-0000-0000-0000-000000000000}"/>
          </ac:spMkLst>
        </pc:spChg>
      </pc:sldChg>
      <pc:sldChg chg="modSp mod">
        <pc:chgData name="higashiya naoki/0897279/東谷　直樹" userId="ab4885b7-8773-4471-b98b-f744550e344e" providerId="ADAL" clId="{76E4468A-B54F-4416-9B82-E603C92EB1A3}" dt="2025-09-18T05:52:51.598" v="154"/>
        <pc:sldMkLst>
          <pc:docMk/>
          <pc:sldMk cId="0" sldId="16772960"/>
        </pc:sldMkLst>
        <pc:graphicFrameChg chg="mod modGraphic">
          <ac:chgData name="higashiya naoki/0897279/東谷　直樹" userId="ab4885b7-8773-4471-b98b-f744550e344e" providerId="ADAL" clId="{76E4468A-B54F-4416-9B82-E603C92EB1A3}" dt="2025-09-18T05:52:51.598" v="154"/>
          <ac:graphicFrameMkLst>
            <pc:docMk/>
            <pc:sldMk cId="0" sldId="16772960"/>
            <ac:graphicFrameMk id="4" creationId="{9364F8F7-8993-8F9F-93B4-950689A63292}"/>
          </ac:graphicFrameMkLst>
        </pc:graphicFrameChg>
      </pc:sldChg>
      <pc:sldChg chg="modSp">
        <pc:chgData name="higashiya naoki/0897279/東谷　直樹" userId="ab4885b7-8773-4471-b98b-f744550e344e" providerId="ADAL" clId="{76E4468A-B54F-4416-9B82-E603C92EB1A3}" dt="2025-09-18T05:52:51.598" v="154"/>
        <pc:sldMkLst>
          <pc:docMk/>
          <pc:sldMk cId="0" sldId="16772961"/>
        </pc:sldMkLst>
        <pc:spChg chg="mod">
          <ac:chgData name="higashiya naoki/0897279/東谷　直樹" userId="ab4885b7-8773-4471-b98b-f744550e344e" providerId="ADAL" clId="{76E4468A-B54F-4416-9B82-E603C92EB1A3}" dt="2025-09-18T05:52:51.598" v="154"/>
          <ac:spMkLst>
            <pc:docMk/>
            <pc:sldMk cId="0" sldId="16772961"/>
            <ac:spMk id="13" creationId="{20F437F9-F1E3-7A6E-D183-3524B7764422}"/>
          </ac:spMkLst>
        </pc:spChg>
        <pc:spChg chg="mod">
          <ac:chgData name="higashiya naoki/0897279/東谷　直樹" userId="ab4885b7-8773-4471-b98b-f744550e344e" providerId="ADAL" clId="{76E4468A-B54F-4416-9B82-E603C92EB1A3}" dt="2025-09-18T05:24:05.920" v="14"/>
          <ac:spMkLst>
            <pc:docMk/>
            <pc:sldMk cId="0" sldId="16772961"/>
            <ac:spMk id="21" creationId="{0185A894-7F68-5B0F-70C1-8F0154D2E469}"/>
          </ac:spMkLst>
        </pc:spChg>
      </pc:sldChg>
      <pc:sldChg chg="modSp">
        <pc:chgData name="higashiya naoki/0897279/東谷　直樹" userId="ab4885b7-8773-4471-b98b-f744550e344e" providerId="ADAL" clId="{76E4468A-B54F-4416-9B82-E603C92EB1A3}" dt="2025-09-18T05:24:05.920" v="14"/>
        <pc:sldMkLst>
          <pc:docMk/>
          <pc:sldMk cId="0" sldId="16772967"/>
        </pc:sldMkLst>
        <pc:spChg chg="mod">
          <ac:chgData name="higashiya naoki/0897279/東谷　直樹" userId="ab4885b7-8773-4471-b98b-f744550e344e" providerId="ADAL" clId="{76E4468A-B54F-4416-9B82-E603C92EB1A3}" dt="2025-09-18T05:24:05.920" v="14"/>
          <ac:spMkLst>
            <pc:docMk/>
            <pc:sldMk cId="0" sldId="16772967"/>
            <ac:spMk id="15" creationId="{00000000-0000-0000-0000-000000000000}"/>
          </ac:spMkLst>
        </pc:spChg>
      </pc:sldChg>
      <pc:sldChg chg="modSp mod">
        <pc:chgData name="higashiya naoki/0897279/東谷　直樹" userId="ab4885b7-8773-4471-b98b-f744550e344e" providerId="ADAL" clId="{76E4468A-B54F-4416-9B82-E603C92EB1A3}" dt="2025-09-18T10:52:08.355" v="161"/>
        <pc:sldMkLst>
          <pc:docMk/>
          <pc:sldMk cId="0" sldId="16772971"/>
        </pc:sldMkLst>
        <pc:spChg chg="mod">
          <ac:chgData name="higashiya naoki/0897279/東谷　直樹" userId="ab4885b7-8773-4471-b98b-f744550e344e" providerId="ADAL" clId="{76E4468A-B54F-4416-9B82-E603C92EB1A3}" dt="2025-09-18T10:52:08.355" v="161"/>
          <ac:spMkLst>
            <pc:docMk/>
            <pc:sldMk cId="0" sldId="16772971"/>
            <ac:spMk id="15" creationId="{00000000-0000-0000-0000-000000000000}"/>
          </ac:spMkLst>
        </pc:spChg>
      </pc:sldChg>
      <pc:sldChg chg="modSp mod">
        <pc:chgData name="higashiya naoki/0897279/東谷　直樹" userId="ab4885b7-8773-4471-b98b-f744550e344e" providerId="ADAL" clId="{76E4468A-B54F-4416-9B82-E603C92EB1A3}" dt="2025-09-18T05:42:14.474" v="134" actId="6549"/>
        <pc:sldMkLst>
          <pc:docMk/>
          <pc:sldMk cId="0" sldId="16772972"/>
        </pc:sldMkLst>
        <pc:spChg chg="mod">
          <ac:chgData name="higashiya naoki/0897279/東谷　直樹" userId="ab4885b7-8773-4471-b98b-f744550e344e" providerId="ADAL" clId="{76E4468A-B54F-4416-9B82-E603C92EB1A3}" dt="2025-09-18T05:41:52.963" v="133" actId="20577"/>
          <ac:spMkLst>
            <pc:docMk/>
            <pc:sldMk cId="0" sldId="16772972"/>
            <ac:spMk id="37" creationId="{7086AD1C-5573-3AA1-6075-7C3D6A53A5E2}"/>
          </ac:spMkLst>
        </pc:spChg>
        <pc:spChg chg="mod">
          <ac:chgData name="higashiya naoki/0897279/東谷　直樹" userId="ab4885b7-8773-4471-b98b-f744550e344e" providerId="ADAL" clId="{76E4468A-B54F-4416-9B82-E603C92EB1A3}" dt="2025-09-18T05:24:05.920" v="14"/>
          <ac:spMkLst>
            <pc:docMk/>
            <pc:sldMk cId="0" sldId="16772972"/>
            <ac:spMk id="55" creationId="{00000000-0000-0000-0000-000000000000}"/>
          </ac:spMkLst>
        </pc:spChg>
        <pc:spChg chg="mod">
          <ac:chgData name="higashiya naoki/0897279/東谷　直樹" userId="ab4885b7-8773-4471-b98b-f744550e344e" providerId="ADAL" clId="{76E4468A-B54F-4416-9B82-E603C92EB1A3}" dt="2025-09-18T05:42:14.474" v="134" actId="6549"/>
          <ac:spMkLst>
            <pc:docMk/>
            <pc:sldMk cId="0" sldId="16772972"/>
            <ac:spMk id="61" creationId="{895BE663-160F-5FA8-247A-EE062F96F349}"/>
          </ac:spMkLst>
        </pc:spChg>
      </pc:sldChg>
      <pc:sldChg chg="modSp mod">
        <pc:chgData name="higashiya naoki/0897279/東谷　直樹" userId="ab4885b7-8773-4471-b98b-f744550e344e" providerId="ADAL" clId="{76E4468A-B54F-4416-9B82-E603C92EB1A3}" dt="2025-09-18T05:47:59.481" v="150" actId="20577"/>
        <pc:sldMkLst>
          <pc:docMk/>
          <pc:sldMk cId="0" sldId="16776352"/>
        </pc:sldMkLst>
        <pc:spChg chg="mod">
          <ac:chgData name="higashiya naoki/0897279/東谷　直樹" userId="ab4885b7-8773-4471-b98b-f744550e344e" providerId="ADAL" clId="{76E4468A-B54F-4416-9B82-E603C92EB1A3}" dt="2025-09-18T05:47:59.481" v="150" actId="20577"/>
          <ac:spMkLst>
            <pc:docMk/>
            <pc:sldMk cId="0" sldId="16776352"/>
            <ac:spMk id="1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9</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extLst>
      <p:ext uri="{BB962C8B-B14F-4D97-AF65-F5344CB8AC3E}">
        <p14:creationId xmlns:p14="http://schemas.microsoft.com/office/powerpoint/2010/main" val="3970197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extLst>
      <p:ext uri="{BB962C8B-B14F-4D97-AF65-F5344CB8AC3E}">
        <p14:creationId xmlns:p14="http://schemas.microsoft.com/office/powerpoint/2010/main" val="1683254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2344"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5290"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037340" y="1331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a:xfrm>
            <a:off x="2416500" y="329307"/>
            <a:ext cx="4973915" cy="309201"/>
          </a:xfrm>
        </p:spPr>
        <p:txBody>
          <a:bodyPr/>
          <a:lstStyle/>
          <a:p>
            <a:endParaRPr lang="en-US"/>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Date Placeholder 4"/>
          <p:cNvSpPr>
            <a:spLocks noGrp="1"/>
          </p:cNvSpPr>
          <p:nvPr>
            <p:ph type="dt" sz="half" idx="10"/>
          </p:nvPr>
        </p:nvSpPr>
        <p:spPr/>
        <p:txBody>
          <a:body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Date Placeholder 6"/>
          <p:cNvSpPr>
            <a:spLocks noGrp="1"/>
          </p:cNvSpPr>
          <p:nvPr>
            <p:ph type="dt" sz="half" idx="10"/>
          </p:nvPr>
        </p:nvSpPr>
        <p:spPr/>
        <p:txBody>
          <a:bodyPr/>
          <a:lstStyle/>
          <a:p>
            <a:fld id="{48A87A34-81AB-432B-8DAE-1953F412C126}" type="datetimeFigureOut">
              <a:rPr lang="en-US" dirty="0"/>
              <a:t>9/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48A87A34-81AB-432B-8DAE-1953F412C126}" type="datetimeFigureOut">
              <a:rPr lang="en-US" dirty="0"/>
              <a:t>9/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19/2025</a:t>
            </a:fld>
            <a:endParaRPr lang="en-US"/>
          </a:p>
        </p:txBody>
      </p:sp>
      <p:sp>
        <p:nvSpPr>
          <p:cNvPr id="6" name="Footer Placeholder 5"/>
          <p:cNvSpPr>
            <a:spLocks noGrp="1"/>
          </p:cNvSpPr>
          <p:nvPr>
            <p:ph type="ftr" sz="quarter" idx="11"/>
          </p:nvPr>
        </p:nvSpPr>
        <p:spPr>
          <a:xfrm>
            <a:off x="1447382" y="318640"/>
            <a:ext cx="5541004" cy="320931"/>
          </a:xfrm>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cover">
    <p:bg>
      <p:bgPr>
        <a:solidFill>
          <a:schemeClr val="bg1"/>
        </a:solidFill>
        <a:effectLst/>
      </p:bgPr>
    </p:bg>
    <p:spTree>
      <p:nvGrpSpPr>
        <p:cNvPr id="1" name=""/>
        <p:cNvGrpSpPr/>
        <p:nvPr/>
      </p:nvGrpSpPr>
      <p:grpSpPr>
        <a:xfrm>
          <a:off x="0" y="0"/>
          <a:ext cx="0" cy="0"/>
          <a:chOff x="0" y="0"/>
          <a:chExt cx="0" cy="0"/>
        </a:xfrm>
      </p:grpSpPr>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56867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64942" y="983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38272" y="9151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oleObject" Target="../embeddings/oleObject69.bin"/><Relationship Id="rId2" Type="http://schemas.openxmlformats.org/officeDocument/2006/relationships/slideLayout" Target="../slideLayouts/slideLayout71.xml"/><Relationship Id="rId16" Type="http://schemas.openxmlformats.org/officeDocument/2006/relationships/image" Target="../media/image16.jpe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72.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3"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3"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6">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19/2025</a:t>
            </a:fld>
            <a:endParaRPr lang="en-US"/>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7" imgW="5715" imgH="5715" progId="TCLayout.ActiveDocument.1">
                  <p:embed/>
                </p:oleObj>
              </mc:Choice>
              <mc:Fallback>
                <p:oleObj name="think-cellスライド" r:id="rId17" imgW="5715" imgH="5715" progId="TCLayout.ActiveDocument.1">
                  <p:embed/>
                  <p:pic>
                    <p:nvPicPr>
                      <p:cNvPr id="9" name="オブジェクト 2" hidden="1"/>
                      <p:cNvPicPr/>
                      <p:nvPr/>
                    </p:nvPicPr>
                    <p:blipFill>
                      <a:blip r:embed="rId18"/>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jpe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82.xml"/><Relationship Id="rId6"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3.svg"/><Relationship Id="rId4" Type="http://schemas.openxmlformats.org/officeDocument/2006/relationships/image" Target="../media/image18.png"/><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82.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8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DD50C-AECA-9716-C122-6447EE663F0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91E8B8E-8486-09C3-9D96-58B3ABABEB25}"/>
              </a:ext>
            </a:extLst>
          </p:cNvPr>
          <p:cNvSpPr>
            <a:spLocks noGrp="1"/>
          </p:cNvSpPr>
          <p:nvPr>
            <p:ph type="ctrTitle"/>
          </p:nvPr>
        </p:nvSpPr>
        <p:spPr/>
        <p:txBody>
          <a:bodyPr/>
          <a:lstStyle/>
          <a:p>
            <a:r>
              <a:rPr lang="ja-JP" altLang="en-US"/>
              <a:t>以下は不要</a:t>
            </a:r>
          </a:p>
        </p:txBody>
      </p:sp>
      <p:sp>
        <p:nvSpPr>
          <p:cNvPr id="2" name="字幕 1">
            <a:extLst>
              <a:ext uri="{FF2B5EF4-FFF2-40B4-BE49-F238E27FC236}">
                <a16:creationId xmlns:a16="http://schemas.microsoft.com/office/drawing/2014/main" id="{58E6BDEA-FC83-811B-2716-9CBF9335B9BA}"/>
              </a:ext>
            </a:extLst>
          </p:cNvPr>
          <p:cNvSpPr>
            <a:spLocks noGrp="1"/>
          </p:cNvSpPr>
          <p:nvPr>
            <p:ph type="subTitle" idx="1"/>
          </p:nvPr>
        </p:nvSpPr>
        <p:spPr/>
        <p:txBody>
          <a:bodyPr/>
          <a:lstStyle/>
          <a:p>
            <a:endParaRPr lang="ja-JP" altLang="en-US"/>
          </a:p>
        </p:txBody>
      </p:sp>
    </p:spTree>
    <p:extLst>
      <p:ext uri="{BB962C8B-B14F-4D97-AF65-F5344CB8AC3E}">
        <p14:creationId xmlns:p14="http://schemas.microsoft.com/office/powerpoint/2010/main" val="28812110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a:t>提案（</a:t>
            </a:r>
            <a:r>
              <a:rPr kumimoji="1" lang="en-US" altLang="ja-JP"/>
              <a:t>File</a:t>
            </a:r>
            <a:r>
              <a:rPr kumimoji="1" lang="ja-JP" altLang="en-US"/>
              <a:t>を</a:t>
            </a:r>
            <a:r>
              <a:rPr kumimoji="1" lang="en-US" altLang="ja-JP"/>
              <a:t>Dataverse</a:t>
            </a:r>
            <a:r>
              <a:rPr kumimoji="1" lang="ja-JP" altLang="en-US"/>
              <a:t> に</a:t>
            </a:r>
            <a:r>
              <a:rPr kumimoji="1" lang="en-US" altLang="ja-JP" err="1"/>
              <a:t>Storeage</a:t>
            </a:r>
            <a:r>
              <a:rPr kumimoji="1" lang="ja-JP" altLang="en-US"/>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p:cNvPicPr>
            <a:picLocks noChangeAspect="1"/>
          </p:cNvPicPr>
          <p:nvPr/>
        </p:nvPicPr>
        <p:blipFill>
          <a:blip r:embed="rId6"/>
          <a:stretch>
            <a:fillRect/>
          </a:stretch>
        </p:blipFill>
        <p:spPr>
          <a:xfrm>
            <a:off x="8299510" y="1826360"/>
            <a:ext cx="1047690" cy="987766"/>
          </a:xfrm>
          <a:prstGeom prst="rect">
            <a:avLst/>
          </a:prstGeom>
        </p:spPr>
      </p:pic>
      <p:sp>
        <p:nvSpPr>
          <p:cNvPr id="16" name="テキスト ボックス 15"/>
          <p:cNvSpPr txBox="1"/>
          <p:nvPr/>
        </p:nvSpPr>
        <p:spPr>
          <a:xfrm>
            <a:off x="326294" y="3908859"/>
            <a:ext cx="1223264" cy="523220"/>
          </a:xfrm>
          <a:prstGeom prst="rect">
            <a:avLst/>
          </a:prstGeom>
          <a:noFill/>
        </p:spPr>
        <p:txBody>
          <a:bodyPr wrap="square" rtlCol="0">
            <a:spAutoFit/>
          </a:bodyPr>
          <a:lstStyle/>
          <a:p>
            <a:pPr algn="ctr"/>
            <a:r>
              <a:rPr kumimoji="1" lang="ja-JP" altLang="en-US" sz="1400"/>
              <a:t>入力手段</a:t>
            </a:r>
            <a:endParaRPr kumimoji="1" lang="en-US" altLang="ja-JP" sz="1400"/>
          </a:p>
          <a:p>
            <a:pPr algn="ctr"/>
            <a:r>
              <a:rPr kumimoji="1" lang="en-US" altLang="ja-JP" sz="1400"/>
              <a:t>UI</a:t>
            </a:r>
            <a:r>
              <a:rPr kumimoji="1" lang="ja-JP" altLang="en-US" sz="1400"/>
              <a:t>閲覧系</a:t>
            </a:r>
          </a:p>
        </p:txBody>
      </p:sp>
      <p:sp>
        <p:nvSpPr>
          <p:cNvPr id="20" name="テキスト ボックス 19"/>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a:t>帳票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7"/>
          <a:stretch>
            <a:fillRect/>
          </a:stretch>
        </p:blipFill>
        <p:spPr>
          <a:xfrm>
            <a:off x="5692519" y="509230"/>
            <a:ext cx="2139144" cy="1262554"/>
          </a:xfrm>
          <a:prstGeom prst="rect">
            <a:avLst/>
          </a:prstGeom>
        </p:spPr>
      </p:pic>
      <p:cxnSp>
        <p:nvCxnSpPr>
          <p:cNvPr id="31" name="コネクタ: カギ線 30"/>
          <p:cNvCxnSpPr>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45297" y="6212784"/>
            <a:ext cx="1112228" cy="276999"/>
          </a:xfrm>
          <a:prstGeom prst="rect">
            <a:avLst/>
          </a:prstGeom>
          <a:noFill/>
        </p:spPr>
        <p:txBody>
          <a:bodyPr wrap="square" rtlCol="0">
            <a:spAutoFit/>
          </a:bodyPr>
          <a:lstStyle/>
          <a:p>
            <a:pPr algn="ctr"/>
            <a:r>
              <a:rPr lang="en-US" altLang="ja-JP" sz="1200"/>
              <a:t>Share Point</a:t>
            </a:r>
            <a:endParaRPr kumimoji="1" lang="ja-JP" altLang="en-US" sz="1200"/>
          </a:p>
        </p:txBody>
      </p:sp>
      <p:sp>
        <p:nvSpPr>
          <p:cNvPr id="34" name="ひし形 33"/>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7" name="コネクタ: カギ線 36"/>
          <p:cNvCxnSpPr>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678842"/>
            <a:ext cx="1444250" cy="461665"/>
          </a:xfrm>
          <a:prstGeom prst="rect">
            <a:avLst/>
          </a:prstGeom>
          <a:noFill/>
        </p:spPr>
        <p:txBody>
          <a:bodyPr wrap="square" rtlCol="0">
            <a:spAutoFit/>
          </a:bodyPr>
          <a:lstStyle/>
          <a:p>
            <a:pPr algn="ctr"/>
            <a:r>
              <a:rPr kumimoji="1" lang="ja-JP" altLang="en-US" sz="1200"/>
              <a:t>定型データの</a:t>
            </a:r>
            <a:endParaRPr kumimoji="1" lang="en-US" altLang="ja-JP" sz="1200"/>
          </a:p>
          <a:p>
            <a:pPr algn="ctr"/>
            <a:r>
              <a:rPr kumimoji="1" lang="ja-JP" altLang="en-US" sz="1200"/>
              <a:t>取得、表示、更新</a:t>
            </a:r>
          </a:p>
        </p:txBody>
      </p:sp>
      <p:sp>
        <p:nvSpPr>
          <p:cNvPr id="42" name="ひし形 41"/>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44" name="テキスト ボックス 43"/>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a:t>ファイル</a:t>
            </a:r>
            <a:endParaRPr kumimoji="1" lang="en-US" altLang="ja-JP" sz="1200"/>
          </a:p>
          <a:p>
            <a:pPr algn="ctr"/>
            <a:r>
              <a:rPr kumimoji="1" lang="ja-JP" altLang="en-US" sz="1200"/>
              <a:t>取得、表示</a:t>
            </a:r>
          </a:p>
        </p:txBody>
      </p:sp>
      <p:cxnSp>
        <p:nvCxnSpPr>
          <p:cNvPr id="45" name="コネクタ: カギ線 44"/>
          <p:cNvCxnSpPr>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1" name="テキスト ボックス 50"/>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a:t>ファイル編集</a:t>
            </a:r>
            <a:endParaRPr kumimoji="1" lang="en-US" altLang="ja-JP" sz="1200"/>
          </a:p>
          <a:p>
            <a:pPr algn="ctr"/>
            <a:r>
              <a:rPr kumimoji="1" lang="ja-JP" altLang="en-US" sz="1200"/>
              <a:t>リクエスト　①</a:t>
            </a:r>
          </a:p>
        </p:txBody>
      </p:sp>
      <p:cxnSp>
        <p:nvCxnSpPr>
          <p:cNvPr id="52" name="コネクタ: カギ線 51"/>
          <p:cNvCxnSpPr>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a:t>ファイルを</a:t>
            </a:r>
            <a:r>
              <a:rPr kumimoji="1" lang="en-US" altLang="ja-JP" sz="1200"/>
              <a:t>SPO</a:t>
            </a:r>
            <a:r>
              <a:rPr kumimoji="1" lang="ja-JP" altLang="en-US" sz="1200"/>
              <a:t>にダウンロード②</a:t>
            </a:r>
          </a:p>
        </p:txBody>
      </p:sp>
      <p:pic>
        <p:nvPicPr>
          <p:cNvPr id="58" name="図 57" descr="グラフィカル ユーザー インターフェイス, アプリケーション, テーブル, Excel"/>
          <p:cNvPicPr>
            <a:picLocks noChangeAspect="1"/>
          </p:cNvPicPr>
          <p:nvPr/>
        </p:nvPicPr>
        <p:blipFill>
          <a:blip r:embed="rId8"/>
          <a:stretch>
            <a:fillRect/>
          </a:stretch>
        </p:blipFill>
        <p:spPr>
          <a:xfrm>
            <a:off x="296107" y="5281994"/>
            <a:ext cx="2086032" cy="1030032"/>
          </a:xfrm>
          <a:prstGeom prst="rect">
            <a:avLst/>
          </a:prstGeom>
        </p:spPr>
      </p:pic>
      <p:cxnSp>
        <p:nvCxnSpPr>
          <p:cNvPr id="61" name="直線矢印コネクタ 60"/>
          <p:cNvCxnSpPr>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510033" y="5885470"/>
            <a:ext cx="1444250" cy="276999"/>
          </a:xfrm>
          <a:prstGeom prst="rect">
            <a:avLst/>
          </a:prstGeom>
          <a:noFill/>
        </p:spPr>
        <p:txBody>
          <a:bodyPr wrap="square" rtlCol="0">
            <a:spAutoFit/>
          </a:bodyPr>
          <a:lstStyle/>
          <a:p>
            <a:pPr algn="ctr"/>
            <a:r>
              <a:rPr lang="ja-JP" altLang="en-US" sz="1200"/>
              <a:t>ファイル編集③</a:t>
            </a:r>
            <a:endParaRPr kumimoji="1" lang="ja-JP" altLang="en-US" sz="1200"/>
          </a:p>
        </p:txBody>
      </p:sp>
      <p:cxnSp>
        <p:nvCxnSpPr>
          <p:cNvPr id="67" name="直線矢印コネクタ 66"/>
          <p:cNvCxnSpPr>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4595558"/>
            <a:ext cx="2714948" cy="1031051"/>
          </a:xfrm>
          <a:prstGeom prst="rect">
            <a:avLst/>
          </a:prstGeom>
          <a:noFill/>
        </p:spPr>
        <p:txBody>
          <a:bodyPr wrap="square" rtlCol="0">
            <a:spAutoFit/>
          </a:bodyPr>
          <a:lstStyle/>
          <a:p>
            <a:pPr algn="ctr"/>
            <a:r>
              <a:rPr lang="ja-JP" altLang="en-US" sz="1200"/>
              <a:t>ファイル変更イベント捕捉　④</a:t>
            </a:r>
          </a:p>
          <a:p>
            <a:pPr algn="ctr"/>
            <a:endParaRPr lang="en-US" altLang="ja-JP" sz="700"/>
          </a:p>
          <a:p>
            <a:pPr algn="ctr"/>
            <a:r>
              <a:rPr lang="en-US" altLang="ja-JP" sz="800"/>
              <a:t>SharePoint - </a:t>
            </a:r>
            <a:r>
              <a:rPr lang="ja-JP" altLang="en-US" sz="800"/>
              <a:t>ファイルが作成または変更されたとき</a:t>
            </a:r>
            <a:endParaRPr lang="en-US" altLang="ja-JP" sz="800"/>
          </a:p>
          <a:p>
            <a:pPr algn="ctr"/>
            <a:r>
              <a:rPr lang="ja-JP" altLang="en-US" sz="800"/>
              <a:t>「</a:t>
            </a:r>
            <a:r>
              <a:rPr lang="en-US" altLang="ja-JP" sz="800"/>
              <a:t>SharePoint - </a:t>
            </a:r>
            <a:r>
              <a:rPr lang="ja-JP" altLang="en-US" sz="800"/>
              <a:t>アイテムが作成または変更されたとき」</a:t>
            </a:r>
            <a:endParaRPr lang="en-US" altLang="ja-JP" sz="800"/>
          </a:p>
          <a:p>
            <a:pPr algn="ctr"/>
            <a:endParaRPr lang="ja-JP" altLang="en-US" sz="800"/>
          </a:p>
          <a:p>
            <a:pPr algn="ctr"/>
            <a:endParaRPr lang="ja-JP" altLang="en-US" sz="900"/>
          </a:p>
          <a:p>
            <a:pPr algn="ctr"/>
            <a:endParaRPr kumimoji="1" lang="ja-JP" altLang="en-US" sz="900"/>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8217311" y="5958208"/>
            <a:ext cx="911875" cy="786151"/>
          </a:xfrm>
          <a:prstGeom prst="rect">
            <a:avLst/>
          </a:prstGeom>
        </p:spPr>
      </p:pic>
      <p:sp>
        <p:nvSpPr>
          <p:cNvPr id="77" name="テキスト ボックス 76"/>
          <p:cNvSpPr txBox="1"/>
          <p:nvPr/>
        </p:nvSpPr>
        <p:spPr>
          <a:xfrm>
            <a:off x="9129186" y="5977560"/>
            <a:ext cx="2269922" cy="584775"/>
          </a:xfrm>
          <a:prstGeom prst="rect">
            <a:avLst/>
          </a:prstGeom>
          <a:noFill/>
        </p:spPr>
        <p:txBody>
          <a:bodyPr wrap="square" rtlCol="0">
            <a:spAutoFit/>
          </a:bodyPr>
          <a:lstStyle/>
          <a:p>
            <a:r>
              <a:rPr lang="ja-JP" altLang="en-US" sz="1100"/>
              <a:t>定期</a:t>
            </a:r>
            <a:r>
              <a:rPr lang="en-US" altLang="ja-JP" sz="1100"/>
              <a:t>Clean</a:t>
            </a:r>
            <a:r>
              <a:rPr lang="ja-JP" altLang="en-US" sz="1100"/>
              <a:t>処理</a:t>
            </a:r>
            <a:endParaRPr lang="en-US" altLang="ja-JP" sz="1100"/>
          </a:p>
          <a:p>
            <a:r>
              <a:rPr lang="ja-JP" altLang="en-US" sz="700">
                <a:solidFill>
                  <a:srgbClr val="FF0000"/>
                </a:solidFill>
              </a:rPr>
              <a:t>「ファイルの閉じる」が捕捉できないため、定期的に、＋</a:t>
            </a:r>
            <a:r>
              <a:rPr lang="en-US" altLang="ja-JP" sz="700">
                <a:solidFill>
                  <a:srgbClr val="FF0000"/>
                </a:solidFill>
              </a:rPr>
              <a:t>N</a:t>
            </a:r>
            <a:r>
              <a:rPr lang="ja-JP" altLang="en-US" sz="700">
                <a:solidFill>
                  <a:srgbClr val="FF0000"/>
                </a:solidFill>
              </a:rPr>
              <a:t>日以上編集なしのファイルを</a:t>
            </a:r>
            <a:r>
              <a:rPr lang="en-US" altLang="ja-JP" sz="700">
                <a:solidFill>
                  <a:srgbClr val="FF0000"/>
                </a:solidFill>
              </a:rPr>
              <a:t>Clean</a:t>
            </a:r>
            <a:r>
              <a:rPr lang="ja-JP" altLang="en-US" sz="700">
                <a:solidFill>
                  <a:srgbClr val="FF0000"/>
                </a:solidFill>
              </a:rPr>
              <a:t>する</a:t>
            </a:r>
          </a:p>
          <a:p>
            <a:endParaRPr lang="en-US" altLang="ja-JP" sz="700"/>
          </a:p>
        </p:txBody>
      </p:sp>
      <p:cxnSp>
        <p:nvCxnSpPr>
          <p:cNvPr id="78" name="コネクタ: カギ線 77"/>
          <p:cNvCxnSpPr>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78012" y="2175958"/>
            <a:ext cx="2714948" cy="738664"/>
          </a:xfrm>
          <a:prstGeom prst="rect">
            <a:avLst/>
          </a:prstGeom>
          <a:noFill/>
        </p:spPr>
        <p:txBody>
          <a:bodyPr wrap="square" rtlCol="0">
            <a:spAutoFit/>
          </a:bodyPr>
          <a:lstStyle/>
          <a:p>
            <a:pPr algn="ctr"/>
            <a:r>
              <a:rPr lang="en-US" altLang="ja-JP" sz="1200"/>
              <a:t>SPO</a:t>
            </a:r>
            <a:r>
              <a:rPr lang="ja-JP" altLang="en-US" sz="1200"/>
              <a:t>の変更さらた内容を</a:t>
            </a:r>
            <a:endParaRPr lang="en-US" altLang="ja-JP" sz="1200"/>
          </a:p>
          <a:p>
            <a:pPr algn="ctr"/>
            <a:r>
              <a:rPr lang="en-US" altLang="ja-JP" sz="1200"/>
              <a:t>Dataverse</a:t>
            </a:r>
            <a:r>
              <a:rPr lang="ja-JP" altLang="en-US" sz="1200"/>
              <a:t>へ更新</a:t>
            </a:r>
          </a:p>
          <a:p>
            <a:pPr algn="ctr"/>
            <a:endParaRPr lang="ja-JP" altLang="en-US" sz="900"/>
          </a:p>
          <a:p>
            <a:pPr algn="ctr"/>
            <a:endParaRPr kumimoji="1" lang="ja-JP" altLang="en-US" sz="900"/>
          </a:p>
        </p:txBody>
      </p:sp>
      <p:pic>
        <p:nvPicPr>
          <p:cNvPr id="87" name="グラフィックス 86"/>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4867" y="5715078"/>
            <a:ext cx="354706" cy="340784"/>
          </a:xfrm>
          <a:prstGeom prst="rect">
            <a:avLst/>
          </a:prstGeom>
        </p:spPr>
      </p:pic>
      <p:cxnSp>
        <p:nvCxnSpPr>
          <p:cNvPr id="93" name="直線矢印コネクタ 92"/>
          <p:cNvCxnSpPr>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ひし形 95"/>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graphicFrame>
        <p:nvGraphicFramePr>
          <p:cNvPr id="106" name="表 105"/>
          <p:cNvGraphicFramePr>
            <a:graphicFrameLocks noGrp="1"/>
          </p:cNvGraphicFramePr>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20000"/>
                    </a:ext>
                  </a:extLst>
                </a:gridCol>
                <a:gridCol w="1682703">
                  <a:extLst>
                    <a:ext uri="{9D8B030D-6E8A-4147-A177-3AD203B41FA5}">
                      <a16:colId xmlns:a16="http://schemas.microsoft.com/office/drawing/2014/main" val="20001"/>
                    </a:ext>
                  </a:extLst>
                </a:gridCol>
                <a:gridCol w="1498599">
                  <a:extLst>
                    <a:ext uri="{9D8B030D-6E8A-4147-A177-3AD203B41FA5}">
                      <a16:colId xmlns:a16="http://schemas.microsoft.com/office/drawing/2014/main" val="20002"/>
                    </a:ext>
                  </a:extLst>
                </a:gridCol>
              </a:tblGrid>
              <a:tr h="233492">
                <a:tc rowSpan="6">
                  <a:txBody>
                    <a:bodyPr/>
                    <a:lstStyle/>
                    <a:p>
                      <a:pPr algn="ctr"/>
                      <a:r>
                        <a:rPr kumimoji="1" lang="ja-JP" altLang="en-US" sz="1050" b="1">
                          <a:solidFill>
                            <a:schemeClr val="bg1"/>
                          </a:solidFill>
                          <a:latin typeface="+mn-ea"/>
                          <a:ea typeface="+mn-ea"/>
                        </a:rPr>
                        <a:t>要件</a:t>
                      </a:r>
                      <a:br>
                        <a:rPr kumimoji="1" lang="en-US" altLang="ja-JP" sz="1050" b="1">
                          <a:solidFill>
                            <a:schemeClr val="bg1"/>
                          </a:solidFill>
                          <a:latin typeface="+mn-ea"/>
                          <a:ea typeface="+mn-ea"/>
                        </a:rPr>
                      </a:br>
                      <a:r>
                        <a:rPr kumimoji="1" lang="ja-JP" altLang="en-US" sz="1050" b="1">
                          <a:solidFill>
                            <a:schemeClr val="bg1"/>
                          </a:solidFill>
                          <a:latin typeface="+mn-ea"/>
                          <a:ea typeface="+mn-ea"/>
                        </a:rPr>
                        <a:t>抜粋</a:t>
                      </a:r>
                      <a:endParaRPr kumimoji="1" lang="en-US" altLang="ja-JP" sz="105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指定フォルダへの添付ファイルダウンロード</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左記の案</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添付ファイルの直接編集</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左記の案</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326497">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err="1">
                          <a:solidFill>
                            <a:schemeClr val="bg1"/>
                          </a:solidFill>
                          <a:latin typeface="+mn-ea"/>
                          <a:ea typeface="+mn-ea"/>
                        </a:rPr>
                        <a:t>SAP,SharePoint</a:t>
                      </a:r>
                      <a:r>
                        <a:rPr kumimoji="1" lang="ja-JP" altLang="en-US" sz="900" b="0">
                          <a:solidFill>
                            <a:schemeClr val="bg1"/>
                          </a:solidFill>
                          <a:latin typeface="+mn-ea"/>
                          <a:ea typeface="+mn-ea"/>
                        </a:rPr>
                        <a:t>等とのデータ連携</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a:solidFill>
                            <a:schemeClr val="bg1"/>
                          </a:solidFill>
                          <a:latin typeface="+mn-ea"/>
                          <a:ea typeface="+mn-ea"/>
                        </a:rPr>
                        <a:t>Power Platform</a:t>
                      </a:r>
                      <a:endParaRPr kumimoji="1" lang="ja-JP" altLang="en-US"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233492">
                <a:tc vMerge="1">
                  <a:txBody>
                    <a:bodyPr/>
                    <a:lstStyle/>
                    <a:p>
                      <a:endParaRPr lang="ja-JP"/>
                    </a:p>
                  </a:txBody>
                  <a:tcPr/>
                </a:tc>
                <a:tc>
                  <a:txBody>
                    <a:bodyPr/>
                    <a:lstStyle/>
                    <a:p>
                      <a:r>
                        <a:rPr kumimoji="1" lang="en-US" altLang="ja-JP" sz="900" b="0">
                          <a:solidFill>
                            <a:schemeClr val="bg1"/>
                          </a:solidFill>
                          <a:latin typeface="+mn-ea"/>
                          <a:ea typeface="+mn-ea"/>
                        </a:rPr>
                        <a:t>xml</a:t>
                      </a:r>
                      <a:r>
                        <a:rPr kumimoji="1" lang="ja-JP" altLang="en-US" sz="900" b="0">
                          <a:solidFill>
                            <a:schemeClr val="bg1"/>
                          </a:solidFill>
                          <a:latin typeface="+mn-ea"/>
                          <a:ea typeface="+mn-ea"/>
                        </a:rPr>
                        <a:t>ファイル形式による移行</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専用ツール</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並列</a:t>
                      </a:r>
                      <a:r>
                        <a:rPr kumimoji="1" lang="en-US" altLang="ja-JP" sz="900" b="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a:solidFill>
                            <a:schemeClr val="bg1"/>
                          </a:solidFill>
                          <a:latin typeface="+mn-ea"/>
                          <a:ea typeface="+mn-ea"/>
                        </a:rPr>
                        <a:t>Power Apps</a:t>
                      </a:r>
                      <a:r>
                        <a:rPr kumimoji="1" lang="ja-JP" altLang="en-US" sz="900" b="0">
                          <a:solidFill>
                            <a:schemeClr val="bg1"/>
                          </a:solidFill>
                          <a:latin typeface="+mn-ea"/>
                          <a:ea typeface="+mn-ea"/>
                        </a:rPr>
                        <a:t>で</a:t>
                      </a:r>
                      <a:r>
                        <a:rPr kumimoji="1" lang="en-US" altLang="ja-JP" sz="900" b="0">
                          <a:solidFill>
                            <a:schemeClr val="bg1"/>
                          </a:solidFill>
                          <a:latin typeface="+mn-ea"/>
                          <a:ea typeface="+mn-ea"/>
                        </a:rPr>
                        <a:t>FW</a:t>
                      </a:r>
                      <a:r>
                        <a:rPr kumimoji="1" lang="ja-JP" altLang="en-US" sz="900" b="0">
                          <a:solidFill>
                            <a:schemeClr val="bg1"/>
                          </a:solidFill>
                          <a:latin typeface="+mn-ea"/>
                          <a:ea typeface="+mn-ea"/>
                        </a:rPr>
                        <a:t>実装</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5"/>
                  </a:ext>
                </a:extLst>
              </a:tr>
            </a:tbl>
          </a:graphicData>
        </a:graphic>
      </p:graphicFrame>
      <p:pic>
        <p:nvPicPr>
          <p:cNvPr id="107" name="図 106"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659587" y="3681285"/>
            <a:ext cx="911875" cy="786151"/>
          </a:xfrm>
          <a:prstGeom prst="rect">
            <a:avLst/>
          </a:prstGeom>
        </p:spPr>
      </p:pic>
      <p:sp>
        <p:nvSpPr>
          <p:cNvPr id="108" name="ひし形 107"/>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10" name="ひし形 109"/>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12" name="コネクタ: カギ線 111"/>
          <p:cNvCxnSpPr>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p:cNvCxnSpPr>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p:cNvSpPr txBox="1"/>
          <p:nvPr/>
        </p:nvSpPr>
        <p:spPr>
          <a:xfrm>
            <a:off x="1913152" y="3511324"/>
            <a:ext cx="1670840" cy="276999"/>
          </a:xfrm>
          <a:prstGeom prst="rect">
            <a:avLst/>
          </a:prstGeom>
          <a:noFill/>
        </p:spPr>
        <p:txBody>
          <a:bodyPr wrap="square" rtlCol="0">
            <a:spAutoFit/>
          </a:bodyPr>
          <a:lstStyle/>
          <a:p>
            <a:pPr algn="ctr"/>
            <a:r>
              <a:rPr lang="en-US" altLang="ja-JP" sz="1200"/>
              <a:t>Download</a:t>
            </a:r>
            <a:r>
              <a:rPr lang="ja-JP" altLang="en-US" sz="1200"/>
              <a:t> </a:t>
            </a:r>
            <a:r>
              <a:rPr lang="en-US" altLang="ja-JP" sz="1200"/>
              <a:t>request</a:t>
            </a:r>
            <a:endParaRPr kumimoji="1" lang="ja-JP" altLang="en-US" sz="900"/>
          </a:p>
        </p:txBody>
      </p:sp>
      <p:sp>
        <p:nvSpPr>
          <p:cNvPr id="119" name="テキスト ボックス 118"/>
          <p:cNvSpPr txBox="1"/>
          <p:nvPr/>
        </p:nvSpPr>
        <p:spPr>
          <a:xfrm>
            <a:off x="3478415" y="4467436"/>
            <a:ext cx="1093047" cy="646331"/>
          </a:xfrm>
          <a:prstGeom prst="rect">
            <a:avLst/>
          </a:prstGeom>
          <a:noFill/>
        </p:spPr>
        <p:txBody>
          <a:bodyPr wrap="square" rtlCol="0">
            <a:spAutoFit/>
          </a:bodyPr>
          <a:lstStyle/>
          <a:p>
            <a:pPr algn="ctr"/>
            <a:r>
              <a:rPr lang="ja-JP" altLang="en-US" sz="1200"/>
              <a:t>複数ファイルを取得し、</a:t>
            </a:r>
            <a:r>
              <a:rPr lang="en-US" altLang="ja-JP" sz="1200"/>
              <a:t>Zip</a:t>
            </a:r>
            <a:r>
              <a:rPr lang="ja-JP" altLang="en-US" sz="1200"/>
              <a:t>にする</a:t>
            </a:r>
            <a:endParaRPr kumimoji="1" lang="ja-JP" altLang="en-US" sz="900"/>
          </a:p>
        </p:txBody>
      </p:sp>
      <p:sp>
        <p:nvSpPr>
          <p:cNvPr id="120" name="ひし形 119"/>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21" name="ひし形 120"/>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22" name="コネクタ: カギ線 121"/>
          <p:cNvCxnSpPr>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p:cNvSpPr txBox="1"/>
          <p:nvPr/>
        </p:nvSpPr>
        <p:spPr>
          <a:xfrm>
            <a:off x="2284536" y="4277591"/>
            <a:ext cx="1475883" cy="276999"/>
          </a:xfrm>
          <a:prstGeom prst="rect">
            <a:avLst/>
          </a:prstGeom>
          <a:noFill/>
        </p:spPr>
        <p:txBody>
          <a:bodyPr wrap="square" rtlCol="0">
            <a:spAutoFit/>
          </a:bodyPr>
          <a:lstStyle/>
          <a:p>
            <a:pPr algn="ctr"/>
            <a:r>
              <a:rPr lang="en-US" altLang="ja-JP" sz="1200"/>
              <a:t>Zip Download</a:t>
            </a:r>
            <a:endParaRPr kumimoji="1" lang="ja-JP" altLang="en-US" sz="900"/>
          </a:p>
        </p:txBody>
      </p:sp>
      <p:sp>
        <p:nvSpPr>
          <p:cNvPr id="132" name="四角形: 角を丸くする 131"/>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a:solidFill>
                  <a:schemeClr val="tx1"/>
                </a:solidFill>
              </a:rPr>
              <a:t>ファイルは</a:t>
            </a:r>
            <a:r>
              <a:rPr lang="en-US" altLang="ja-JP" sz="900">
                <a:solidFill>
                  <a:schemeClr val="tx1"/>
                </a:solidFill>
              </a:rPr>
              <a:t>SPO</a:t>
            </a:r>
            <a:r>
              <a:rPr lang="ja-JP" altLang="en-US" sz="900">
                <a:solidFill>
                  <a:schemeClr val="tx1"/>
                </a:solidFill>
              </a:rPr>
              <a:t>に保存する場合、左記の</a:t>
            </a:r>
            <a:r>
              <a:rPr lang="en-US" altLang="ja-JP" sz="900">
                <a:solidFill>
                  <a:schemeClr val="tx1"/>
                </a:solidFill>
              </a:rPr>
              <a:t>Dataverse</a:t>
            </a:r>
            <a:r>
              <a:rPr lang="ja-JP" altLang="en-US" sz="900">
                <a:solidFill>
                  <a:schemeClr val="tx1"/>
                </a:solidFill>
              </a:rPr>
              <a:t>系は不要。</a:t>
            </a:r>
            <a:r>
              <a:rPr lang="en-US" altLang="ja-JP" sz="900">
                <a:solidFill>
                  <a:schemeClr val="tx1"/>
                </a:solidFill>
              </a:rPr>
              <a:t>App</a:t>
            </a:r>
            <a:r>
              <a:rPr lang="ja-JP" altLang="en-US" sz="900">
                <a:solidFill>
                  <a:schemeClr val="tx1"/>
                </a:solidFill>
              </a:rPr>
              <a:t>ロジックでファイルを複数階層でフォルダでフォルダ内のファイル数を抑える</a:t>
            </a:r>
            <a:endParaRPr lang="en-US" altLang="ja-JP" sz="900">
              <a:solidFill>
                <a:schemeClr val="tx1"/>
              </a:solidFill>
            </a:endParaRPr>
          </a:p>
          <a:p>
            <a:pPr marL="171450" indent="-171450">
              <a:buFont typeface="Wingdings" panose="05000000000000000000" pitchFamily="2" charset="2"/>
              <a:buChar char="Ø"/>
            </a:pPr>
            <a:r>
              <a:rPr lang="ja-JP" altLang="en-US" sz="900">
                <a:solidFill>
                  <a:schemeClr val="tx1"/>
                </a:solidFill>
              </a:rPr>
              <a:t>他</a:t>
            </a:r>
            <a:r>
              <a:rPr lang="en-US" altLang="ja-JP" sz="900">
                <a:solidFill>
                  <a:schemeClr val="tx1"/>
                </a:solidFill>
              </a:rPr>
              <a:t>Storage</a:t>
            </a:r>
            <a:r>
              <a:rPr lang="ja-JP" altLang="en-US" sz="900">
                <a:solidFill>
                  <a:schemeClr val="tx1"/>
                </a:solidFill>
              </a:rPr>
              <a:t>に保存したい場合（</a:t>
            </a:r>
            <a:r>
              <a:rPr lang="en-US" altLang="ja-JP" sz="900">
                <a:solidFill>
                  <a:schemeClr val="tx1"/>
                </a:solidFill>
              </a:rPr>
              <a:t>AWS</a:t>
            </a:r>
            <a:r>
              <a:rPr lang="ja-JP" altLang="en-US" sz="900">
                <a:solidFill>
                  <a:schemeClr val="tx1"/>
                </a:solidFill>
              </a:rPr>
              <a:t>、</a:t>
            </a:r>
            <a:r>
              <a:rPr lang="en-US" altLang="ja-JP" sz="900">
                <a:solidFill>
                  <a:schemeClr val="tx1"/>
                </a:solidFill>
              </a:rPr>
              <a:t>Azure</a:t>
            </a:r>
            <a:r>
              <a:rPr lang="ja-JP" altLang="en-US" sz="900">
                <a:solidFill>
                  <a:schemeClr val="tx1"/>
                </a:solidFill>
              </a:rPr>
              <a:t>）の場合、対応する</a:t>
            </a:r>
            <a:r>
              <a:rPr lang="en-US" altLang="ja-JP" sz="900">
                <a:solidFill>
                  <a:schemeClr val="tx1"/>
                </a:solidFill>
              </a:rPr>
              <a:t>Connector</a:t>
            </a:r>
            <a:r>
              <a:rPr lang="ja-JP" altLang="en-US" sz="900">
                <a:solidFill>
                  <a:schemeClr val="tx1"/>
                </a:solidFill>
              </a:rPr>
              <a:t>が必要</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評価結果</a:t>
            </a:r>
            <a:endParaRPr kumimoji="1" lang="ja-JP" altLang="en-US"/>
          </a:p>
        </p:txBody>
      </p:sp>
      <p:graphicFrame>
        <p:nvGraphicFramePr>
          <p:cNvPr id="6" name="コンテンツ プレースホルダー 5"/>
          <p:cNvGraphicFramePr>
            <a:graphicFrameLocks noGrp="1"/>
          </p:cNvGraphicFramePr>
          <p:nvPr>
            <p:ph sz="quarter" idx="10"/>
          </p:nvPr>
        </p:nvGraphicFramePr>
        <p:xfrm>
          <a:off x="247944" y="742609"/>
          <a:ext cx="11602911" cy="5888482"/>
        </p:xfrm>
        <a:graphic>
          <a:graphicData uri="http://schemas.openxmlformats.org/drawingml/2006/table">
            <a:tbl>
              <a:tblPr firstRow="1" bandRow="1">
                <a:tableStyleId>{5C22544A-7EE6-4342-B048-85BDC9FD1C3A}</a:tableStyleId>
              </a:tblPr>
              <a:tblGrid>
                <a:gridCol w="304994">
                  <a:extLst>
                    <a:ext uri="{9D8B030D-6E8A-4147-A177-3AD203B41FA5}">
                      <a16:colId xmlns:a16="http://schemas.microsoft.com/office/drawing/2014/main" val="20000"/>
                    </a:ext>
                  </a:extLst>
                </a:gridCol>
                <a:gridCol w="457200">
                  <a:extLst>
                    <a:ext uri="{9D8B030D-6E8A-4147-A177-3AD203B41FA5}">
                      <a16:colId xmlns:a16="http://schemas.microsoft.com/office/drawing/2014/main" val="20001"/>
                    </a:ext>
                  </a:extLst>
                </a:gridCol>
                <a:gridCol w="629920">
                  <a:extLst>
                    <a:ext uri="{9D8B030D-6E8A-4147-A177-3AD203B41FA5}">
                      <a16:colId xmlns:a16="http://schemas.microsoft.com/office/drawing/2014/main" val="20002"/>
                    </a:ext>
                  </a:extLst>
                </a:gridCol>
                <a:gridCol w="1593787">
                  <a:extLst>
                    <a:ext uri="{9D8B030D-6E8A-4147-A177-3AD203B41FA5}">
                      <a16:colId xmlns:a16="http://schemas.microsoft.com/office/drawing/2014/main" val="20003"/>
                    </a:ext>
                  </a:extLst>
                </a:gridCol>
                <a:gridCol w="1096448">
                  <a:extLst>
                    <a:ext uri="{9D8B030D-6E8A-4147-A177-3AD203B41FA5}">
                      <a16:colId xmlns:a16="http://schemas.microsoft.com/office/drawing/2014/main" val="20004"/>
                    </a:ext>
                  </a:extLst>
                </a:gridCol>
                <a:gridCol w="547559">
                  <a:extLst>
                    <a:ext uri="{9D8B030D-6E8A-4147-A177-3AD203B41FA5}">
                      <a16:colId xmlns:a16="http://schemas.microsoft.com/office/drawing/2014/main" val="20005"/>
                    </a:ext>
                  </a:extLst>
                </a:gridCol>
                <a:gridCol w="547559">
                  <a:extLst>
                    <a:ext uri="{9D8B030D-6E8A-4147-A177-3AD203B41FA5}">
                      <a16:colId xmlns:a16="http://schemas.microsoft.com/office/drawing/2014/main" val="20006"/>
                    </a:ext>
                  </a:extLst>
                </a:gridCol>
                <a:gridCol w="547559">
                  <a:extLst>
                    <a:ext uri="{9D8B030D-6E8A-4147-A177-3AD203B41FA5}">
                      <a16:colId xmlns:a16="http://schemas.microsoft.com/office/drawing/2014/main" val="20007"/>
                    </a:ext>
                  </a:extLst>
                </a:gridCol>
                <a:gridCol w="547559">
                  <a:extLst>
                    <a:ext uri="{9D8B030D-6E8A-4147-A177-3AD203B41FA5}">
                      <a16:colId xmlns:a16="http://schemas.microsoft.com/office/drawing/2014/main" val="20008"/>
                    </a:ext>
                  </a:extLst>
                </a:gridCol>
                <a:gridCol w="547559">
                  <a:extLst>
                    <a:ext uri="{9D8B030D-6E8A-4147-A177-3AD203B41FA5}">
                      <a16:colId xmlns:a16="http://schemas.microsoft.com/office/drawing/2014/main" val="20009"/>
                    </a:ext>
                  </a:extLst>
                </a:gridCol>
                <a:gridCol w="547559">
                  <a:extLst>
                    <a:ext uri="{9D8B030D-6E8A-4147-A177-3AD203B41FA5}">
                      <a16:colId xmlns:a16="http://schemas.microsoft.com/office/drawing/2014/main" val="20010"/>
                    </a:ext>
                  </a:extLst>
                </a:gridCol>
                <a:gridCol w="547559">
                  <a:extLst>
                    <a:ext uri="{9D8B030D-6E8A-4147-A177-3AD203B41FA5}">
                      <a16:colId xmlns:a16="http://schemas.microsoft.com/office/drawing/2014/main" val="20011"/>
                    </a:ext>
                  </a:extLst>
                </a:gridCol>
                <a:gridCol w="2244932">
                  <a:extLst>
                    <a:ext uri="{9D8B030D-6E8A-4147-A177-3AD203B41FA5}">
                      <a16:colId xmlns:a16="http://schemas.microsoft.com/office/drawing/2014/main" val="20012"/>
                    </a:ext>
                  </a:extLst>
                </a:gridCol>
                <a:gridCol w="340778">
                  <a:extLst>
                    <a:ext uri="{9D8B030D-6E8A-4147-A177-3AD203B41FA5}">
                      <a16:colId xmlns:a16="http://schemas.microsoft.com/office/drawing/2014/main" val="20013"/>
                    </a:ext>
                  </a:extLst>
                </a:gridCol>
                <a:gridCol w="1101939">
                  <a:extLst>
                    <a:ext uri="{9D8B030D-6E8A-4147-A177-3AD203B41FA5}">
                      <a16:colId xmlns:a16="http://schemas.microsoft.com/office/drawing/2014/main" val="20014"/>
                    </a:ext>
                  </a:extLst>
                </a:gridCol>
              </a:tblGrid>
              <a:tr h="167494">
                <a:tc>
                  <a:txBody>
                    <a:bodyPr/>
                    <a:lstStyle/>
                    <a:p>
                      <a:pPr algn="l" fontAlgn="t"/>
                      <a:r>
                        <a:rPr lang="en-US" altLang="ja-JP" sz="600" u="none" strike="noStrike">
                          <a:effectLst/>
                        </a:rPr>
                        <a:t>#</a:t>
                      </a:r>
                      <a:endParaRPr lang="en-US" altLang="ja-JP"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大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小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評価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評価結果・コメント</a:t>
                      </a:r>
                      <a:br>
                        <a:rPr lang="ja-JP" altLang="en-US" sz="600" u="none" strike="noStrike">
                          <a:effectLst/>
                        </a:rPr>
                      </a:br>
                      <a:r>
                        <a:rPr lang="ja-JP" altLang="en-US" sz="600" u="none" strike="noStrike">
                          <a:effectLst/>
                        </a:rPr>
                        <a:t>○：要件を十分満たす</a:t>
                      </a:r>
                      <a:br>
                        <a:rPr lang="ja-JP" altLang="en-US" sz="600" u="none" strike="noStrike">
                          <a:effectLst/>
                        </a:rPr>
                      </a:br>
                      <a:r>
                        <a:rPr lang="ja-JP" altLang="en-US" sz="600" u="none" strike="noStrike">
                          <a:effectLst/>
                        </a:rPr>
                        <a:t>△：要件を満たすか情報が不十分</a:t>
                      </a:r>
                      <a:br>
                        <a:rPr lang="ja-JP" altLang="en-US" sz="600" u="none" strike="noStrike">
                          <a:effectLst/>
                        </a:rPr>
                      </a:br>
                      <a:r>
                        <a:rPr lang="en-US" altLang="ja-JP" sz="600" u="none" strike="noStrike">
                          <a:effectLst/>
                        </a:rPr>
                        <a:t>×</a:t>
                      </a:r>
                      <a:r>
                        <a:rPr lang="ja-JP" altLang="en-US" sz="600" u="none" strike="noStrike">
                          <a:effectLst/>
                        </a:rPr>
                        <a:t>：要件を十分満たせない</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lfresco Content Service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harePoint Online</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Teamcente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ras Innovato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erviceNow</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楽々</a:t>
                      </a:r>
                      <a:r>
                        <a:rPr lang="de-DE" sz="600" u="none" strike="noStrike">
                          <a:effectLst/>
                        </a:rPr>
                        <a:t>Document Plu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martDB</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OpenText Content Management</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sz="600" u="none" strike="noStrike">
                          <a:effectLst/>
                        </a:rPr>
                        <a:t>GCJ Power Platform/Office　365案</a:t>
                      </a:r>
                      <a:endParaRPr 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0"/>
                  </a:ext>
                </a:extLst>
              </a:tr>
              <a:tr h="125692">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de-DE" sz="600" u="none" strike="noStrike">
                          <a:effectLst/>
                        </a:rPr>
                        <a:t>Power Automate</a:t>
                      </a:r>
                      <a:r>
                        <a:rPr lang="ja-JP" altLang="en-US" sz="600" u="none" strike="noStrike">
                          <a:effectLst/>
                        </a:rPr>
                        <a:t>の</a:t>
                      </a:r>
                      <a:r>
                        <a:rPr lang="de-DE" sz="600" u="none" strike="noStrike">
                          <a:effectLst/>
                        </a:rPr>
                        <a:t>Flow</a:t>
                      </a:r>
                      <a:r>
                        <a:rPr lang="ja-JP" altLang="en-US" sz="600" u="none" strike="noStrike">
                          <a:effectLst/>
                        </a:rPr>
                        <a:t>で実装。簡単ならば、</a:t>
                      </a:r>
                      <a:r>
                        <a:rPr lang="de-DE" sz="600" u="none" strike="noStrike">
                          <a:effectLst/>
                        </a:rPr>
                        <a:t>Power Apps</a:t>
                      </a:r>
                      <a:r>
                        <a:rPr lang="ja-JP" altLang="en-US" sz="600" u="none" strike="noStrike">
                          <a:effectLst/>
                        </a:rPr>
                        <a:t>のみでも可能。</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1"/>
                  </a:ext>
                </a:extLst>
              </a:tr>
              <a:tr h="418310">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文書のコピー</a:t>
                      </a:r>
                      <a:r>
                        <a:rPr lang="en-US" altLang="ja-JP" sz="600" u="none" strike="noStrike">
                          <a:effectLst/>
                        </a:rPr>
                        <a:t>(</a:t>
                      </a:r>
                      <a:r>
                        <a:rPr lang="ja-JP" altLang="en-US" sz="600" u="none" strike="noStrike">
                          <a:effectLst/>
                        </a:rPr>
                        <a:t>再利用</a:t>
                      </a:r>
                      <a:r>
                        <a:rPr lang="en-US" altLang="ja-JP" sz="600" u="none" strike="noStrike">
                          <a:effectLst/>
                        </a:rPr>
                        <a:t>)</a:t>
                      </a:r>
                      <a:r>
                        <a:rPr lang="ja-JP" altLang="en-US" sz="600" u="none" strike="noStrike">
                          <a:effectLst/>
                        </a:rPr>
                        <a:t>をする機能がございます。</a:t>
                      </a:r>
                      <a:br>
                        <a:rPr lang="ja-JP" altLang="en-US" sz="600" u="none" strike="noStrike">
                          <a:effectLst/>
                        </a:rPr>
                      </a:br>
                      <a:r>
                        <a:rPr lang="ja-JP" altLang="en-US" sz="600" u="none" strike="noStrike">
                          <a:effectLst/>
                        </a:rPr>
                        <a:t>　 また、項目ごとに再利用可否の設定ができるため、一部のみ引き継ぐことも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可能です。標準機能としては大きく３通りのご用意があります。一つ目は文書管理としてシンプルなコピー、別バージョンとしての登録機能。二つ目はビューアー機能として用意している機能なのですが、文書にコメントなどを追記した上で別文書（</a:t>
                      </a:r>
                      <a:r>
                        <a:rPr lang="en-US" altLang="ja-JP" sz="600" u="none" strike="noStrike">
                          <a:effectLst/>
                        </a:rPr>
                        <a:t>PDF</a:t>
                      </a:r>
                      <a:r>
                        <a:rPr lang="ja-JP" altLang="en-US" sz="600" u="none" strike="noStrike">
                          <a:effectLst/>
                        </a:rPr>
                        <a:t>）として出力する機能。そして三つ目は</a:t>
                      </a:r>
                      <a:r>
                        <a:rPr lang="en-US" altLang="ja-JP" sz="600" u="none" strike="noStrike">
                          <a:effectLst/>
                        </a:rPr>
                        <a:t>O365</a:t>
                      </a:r>
                      <a:r>
                        <a:rPr lang="ja-JP" altLang="en-US" sz="600" u="none" strike="noStrike">
                          <a:effectLst/>
                        </a:rPr>
                        <a:t>との連携機能として、</a:t>
                      </a:r>
                      <a:r>
                        <a:rPr lang="en-US" altLang="ja-JP" sz="600" u="none" strike="noStrike">
                          <a:effectLst/>
                        </a:rPr>
                        <a:t>Word</a:t>
                      </a:r>
                      <a:r>
                        <a:rPr lang="ja-JP" altLang="en-US" sz="600" u="none" strike="noStrike">
                          <a:effectLst/>
                        </a:rPr>
                        <a:t>オンラインなどで展開し、別ファイルとして保存する方法があり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2"/>
                  </a:ext>
                </a:extLst>
              </a:tr>
              <a:tr h="0">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de-DE" sz="600" u="none" strike="noStrike">
                          <a:effectLst/>
                        </a:rPr>
                        <a:t>Power Apps</a:t>
                      </a:r>
                      <a:r>
                        <a:rPr lang="ja-JP" altLang="en-US" sz="600" u="none" strike="noStrike">
                          <a:effectLst/>
                        </a:rPr>
                        <a:t>で十分に可能。</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3"/>
                  </a:ext>
                </a:extLst>
              </a:tr>
              <a:tr h="376507">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各申請先への差し戻しプロセスを事前に作成することで実現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不可能ではありませんが推奨できません。別途ワークフローシステムとの連携を推奨します。</a:t>
                      </a:r>
                      <a:br>
                        <a:rPr lang="ja-JP" altLang="en-US" sz="600" u="none" strike="noStrike">
                          <a:effectLst/>
                        </a:rPr>
                      </a:br>
                      <a:r>
                        <a:rPr lang="ja-JP" altLang="en-US" sz="600" u="none" strike="noStrike">
                          <a:effectLst/>
                        </a:rPr>
                        <a:t>標準のアクションとしては、却下された場合は提起者に差戻しの使用です。ワークフローマップの否認時のアクションとして一周だけの差戻し（</a:t>
                      </a:r>
                      <a:r>
                        <a:rPr lang="en-US" altLang="ja-JP" sz="600" u="none" strike="noStrike">
                          <a:effectLst/>
                        </a:rPr>
                        <a:t>2</a:t>
                      </a:r>
                      <a:r>
                        <a:rPr lang="ja-JP" altLang="en-US" sz="600" u="none" strike="noStrike">
                          <a:effectLst/>
                        </a:rPr>
                        <a:t>回目はフロー自体のクリア）などを挟みこむことは可能ですが、多くの分岐を設計しなければいけないことや一定のコーディングなども必要となるため、推奨できません。</a:t>
                      </a:r>
                      <a:br>
                        <a:rPr lang="ja-JP" altLang="en-US" sz="600" u="none" strike="noStrike">
                          <a:effectLst/>
                        </a:rPr>
                      </a:br>
                      <a:r>
                        <a:rPr lang="ja-JP" altLang="en-US" sz="600" u="none" strike="noStrike">
                          <a:effectLst/>
                        </a:rPr>
                        <a:t>もし必須要件であり、全体のワークフロー数が多いのであれば設定</a:t>
                      </a:r>
                      <a:r>
                        <a:rPr lang="en-US" altLang="ja-JP" sz="600" u="none" strike="noStrike">
                          <a:effectLst/>
                        </a:rPr>
                        <a:t>/</a:t>
                      </a:r>
                      <a:r>
                        <a:rPr lang="ja-JP" altLang="en-US" sz="600" u="none" strike="noStrike">
                          <a:effectLst/>
                        </a:rPr>
                        <a:t>メンテナンス工数の観点からも別ワークフローシステムとの連携を推奨し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4"/>
                  </a:ext>
                </a:extLst>
              </a:tr>
              <a:tr h="0">
                <a:tc>
                  <a:txBody>
                    <a:bodyPr/>
                    <a:lstStyle/>
                    <a:p>
                      <a:pPr algn="r" fontAlgn="t"/>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de-DE" sz="600" u="none" strike="noStrike">
                          <a:effectLst/>
                        </a:rPr>
                        <a:t>Power Apps</a:t>
                      </a:r>
                      <a:r>
                        <a:rPr lang="ja-JP" altLang="en-US" sz="600" u="none" strike="noStrike">
                          <a:effectLst/>
                        </a:rPr>
                        <a:t>で十分に可能。</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5"/>
                  </a:ext>
                </a:extLst>
              </a:tr>
              <a:tr h="181697">
                <a:tc>
                  <a:txBody>
                    <a:bodyPr/>
                    <a:lstStyle/>
                    <a:p>
                      <a:pPr algn="r" fontAlgn="ctr"/>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で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直列であれば簡単です。並列の場合は、</a:t>
                      </a:r>
                      <a:r>
                        <a:rPr lang="en-US" altLang="ja-JP" sz="600" u="none" strike="noStrike">
                          <a:effectLst/>
                        </a:rPr>
                        <a:t>10</a:t>
                      </a:r>
                      <a:r>
                        <a:rPr lang="ja-JP" altLang="en-US" sz="600" u="none" strike="noStrike">
                          <a:effectLst/>
                        </a:rPr>
                        <a:t>人全員の承認を必要とするか、</a:t>
                      </a:r>
                      <a:r>
                        <a:rPr lang="en-US" altLang="ja-JP" sz="600" u="none" strike="noStrike">
                          <a:effectLst/>
                        </a:rPr>
                        <a:t>10</a:t>
                      </a:r>
                      <a:r>
                        <a:rPr lang="ja-JP" altLang="en-US" sz="600" u="none" strike="noStrike">
                          <a:effectLst/>
                        </a:rPr>
                        <a:t>人中</a:t>
                      </a:r>
                      <a:r>
                        <a:rPr lang="en-US" altLang="ja-JP" sz="600" u="none" strike="noStrike">
                          <a:effectLst/>
                        </a:rPr>
                        <a:t>1</a:t>
                      </a:r>
                      <a:r>
                        <a:rPr lang="ja-JP" altLang="en-US" sz="600" u="none" strike="noStrike">
                          <a:effectLst/>
                        </a:rPr>
                        <a:t>人が承認したら次のステップに移る形のいずれかになります。</a:t>
                      </a:r>
                      <a:r>
                        <a:rPr lang="en-US" altLang="ja-JP" sz="600" u="none" strike="noStrike">
                          <a:effectLst/>
                        </a:rPr>
                        <a:t>10</a:t>
                      </a:r>
                      <a:r>
                        <a:rPr lang="ja-JP" altLang="en-US" sz="600" u="none" strike="noStrike">
                          <a:effectLst/>
                        </a:rPr>
                        <a:t>人の内、上長が承認した場合は残りの確認を必要としない、などといった設定はカスタマイズ対応か、別ワークフローシステムとの連携が必要となり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6"/>
                  </a:ext>
                </a:extLst>
              </a:tr>
              <a:tr h="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を登録したマスタデータから一括変更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de-DE" sz="600" u="none" strike="noStrike">
                          <a:effectLst/>
                        </a:rPr>
                        <a:t>Power Apps</a:t>
                      </a:r>
                      <a:r>
                        <a:rPr lang="ja-JP" altLang="en-US" sz="600" u="none" strike="noStrike">
                          <a:effectLst/>
                        </a:rPr>
                        <a:t>で十分に可能。</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7"/>
                  </a:ext>
                </a:extLst>
              </a:tr>
              <a:tr h="97595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申請先を登録したマスタデータから一括変更す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対応可能となっております。</a:t>
                      </a:r>
                      <a:br>
                        <a:rPr lang="ja-JP" altLang="en-US" sz="600" u="none" strike="noStrike">
                          <a:effectLst/>
                        </a:rPr>
                      </a:br>
                      <a:r>
                        <a:rPr lang="ja-JP" altLang="en-US" sz="600" u="none" strike="noStrike">
                          <a:effectLst/>
                        </a:rPr>
                        <a:t>　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の一括変更について </a:t>
                      </a:r>
                      <a:r>
                        <a:rPr lang="en-US" altLang="ja-JP" sz="600" u="none" strike="noStrike">
                          <a:effectLst/>
                        </a:rPr>
                        <a:t>Content Management</a:t>
                      </a:r>
                      <a:r>
                        <a:rPr lang="ja-JP" altLang="en-US" sz="600" u="none" strike="noStrike">
                          <a:effectLst/>
                        </a:rPr>
                        <a:t>単体では、申請中のフローを一括で変更する機能はございません。ご要望の機能を実現するためには、以下のいずれかの対応が必要となります。</a:t>
                      </a:r>
                      <a:br>
                        <a:rPr lang="ja-JP" altLang="en-US" sz="600" u="none" strike="noStrike">
                          <a:effectLst/>
                        </a:rPr>
                      </a:br>
                      <a:r>
                        <a:rPr lang="en-US" altLang="ja-JP" sz="600" u="none" strike="noStrike">
                          <a:effectLst/>
                        </a:rPr>
                        <a:t>A⇒B⇒C⇒D</a:t>
                      </a:r>
                      <a:r>
                        <a:rPr lang="ja-JP" altLang="en-US" sz="600" u="none" strike="noStrike">
                          <a:effectLst/>
                        </a:rPr>
                        <a:t>の申請において、</a:t>
                      </a:r>
                      <a:r>
                        <a:rPr lang="en-US" altLang="ja-JP" sz="600" u="none" strike="noStrike">
                          <a:effectLst/>
                        </a:rPr>
                        <a:t>B</a:t>
                      </a:r>
                      <a:r>
                        <a:rPr lang="ja-JP" altLang="en-US" sz="600" u="none" strike="noStrike">
                          <a:effectLst/>
                        </a:rPr>
                        <a:t>以降の申請先を自由入力欄とすることで、手動での変更を可能にする。</a:t>
                      </a:r>
                      <a:br>
                        <a:rPr lang="ja-JP" altLang="en-US" sz="600" u="none" strike="noStrike">
                          <a:effectLst/>
                        </a:rPr>
                      </a:br>
                      <a:r>
                        <a:rPr lang="ja-JP" altLang="en-US" sz="600" u="none" strike="noStrike">
                          <a:effectLst/>
                        </a:rPr>
                        <a:t>別途、ワークフローシステムとの連携により対応す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8"/>
                  </a:ext>
                </a:extLst>
              </a:tr>
              <a:tr h="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マスタデータ変更した場合でも、実施済みの承認結果は引き継がれ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en-US" altLang="ja-JP" sz="600" u="none" strike="noStrike">
                          <a:effectLst/>
                        </a:rPr>
                        <a:t>DB</a:t>
                      </a:r>
                      <a:r>
                        <a:rPr lang="ja-JP" altLang="en-US" sz="600" u="none" strike="noStrike">
                          <a:effectLst/>
                        </a:rPr>
                        <a:t>設計次第だが、</a:t>
                      </a:r>
                      <a:r>
                        <a:rPr lang="en-US" altLang="ja-JP" sz="600" u="none" strike="noStrike">
                          <a:effectLst/>
                        </a:rPr>
                        <a:t>PowerApps</a:t>
                      </a:r>
                      <a:r>
                        <a:rPr lang="ja-JP" altLang="en-US" sz="600" u="none" strike="noStrike">
                          <a:effectLst/>
                        </a:rPr>
                        <a:t>実績多数あり</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9"/>
                  </a:ext>
                </a:extLst>
              </a:tr>
              <a:tr h="97595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マスタデータ変更した場合でも、実施済みの承認結果は引き継がれ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となっております。</a:t>
                      </a:r>
                      <a:br>
                        <a:rPr lang="ja-JP" altLang="en-US" sz="600" u="none" strike="noStrike">
                          <a:effectLst/>
                        </a:rPr>
                      </a:br>
                      <a:r>
                        <a:rPr lang="ja-JP" altLang="en-US" sz="600" u="none" strike="noStrike">
                          <a:effectLst/>
                        </a:rPr>
                        <a:t>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実施済み承認結果の引き継ぎについて すでに承認された結果はワークフローの承認結果として残りますので、引き継ぎは可能です。しかし、承認結果自体を変更することはできません。あくまで、既存の承認結果はそのままに、追加で新しいワークフローを開始する形となります。複数の承認結果を前提とされる場合は、単純な承認済みステータスだけでなく、一定のカテゴリ属性を設定することをお勧めいたし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10"/>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評価結果</a:t>
            </a:r>
            <a:endParaRPr kumimoji="1" lang="ja-JP" altLang="en-US"/>
          </a:p>
        </p:txBody>
      </p:sp>
      <p:graphicFrame>
        <p:nvGraphicFramePr>
          <p:cNvPr id="5" name="コンテンツ プレースホルダー 4"/>
          <p:cNvGraphicFramePr>
            <a:graphicFrameLocks noGrp="1"/>
          </p:cNvGraphicFramePr>
          <p:nvPr>
            <p:ph sz="quarter" idx="10"/>
            <p:extLst>
              <p:ext uri="{D42A27DB-BD31-4B8C-83A1-F6EECF244321}">
                <p14:modId xmlns:p14="http://schemas.microsoft.com/office/powerpoint/2010/main" val="431610377"/>
              </p:ext>
            </p:extLst>
          </p:nvPr>
        </p:nvGraphicFramePr>
        <p:xfrm>
          <a:off x="453390" y="795020"/>
          <a:ext cx="11479529" cy="4434009"/>
        </p:xfrm>
        <a:graphic>
          <a:graphicData uri="http://schemas.openxmlformats.org/drawingml/2006/table">
            <a:tbl>
              <a:tblPr firstRow="1" bandRow="1">
                <a:tableStyleId>{5C22544A-7EE6-4342-B048-85BDC9FD1C3A}</a:tableStyleId>
              </a:tblPr>
              <a:tblGrid>
                <a:gridCol w="172885">
                  <a:extLst>
                    <a:ext uri="{9D8B030D-6E8A-4147-A177-3AD203B41FA5}">
                      <a16:colId xmlns:a16="http://schemas.microsoft.com/office/drawing/2014/main" val="20000"/>
                    </a:ext>
                  </a:extLst>
                </a:gridCol>
                <a:gridCol w="472551">
                  <a:extLst>
                    <a:ext uri="{9D8B030D-6E8A-4147-A177-3AD203B41FA5}">
                      <a16:colId xmlns:a16="http://schemas.microsoft.com/office/drawing/2014/main" val="20001"/>
                    </a:ext>
                  </a:extLst>
                </a:gridCol>
                <a:gridCol w="1064201">
                  <a:extLst>
                    <a:ext uri="{9D8B030D-6E8A-4147-A177-3AD203B41FA5}">
                      <a16:colId xmlns:a16="http://schemas.microsoft.com/office/drawing/2014/main" val="20002"/>
                    </a:ext>
                  </a:extLst>
                </a:gridCol>
                <a:gridCol w="1667376">
                  <a:extLst>
                    <a:ext uri="{9D8B030D-6E8A-4147-A177-3AD203B41FA5}">
                      <a16:colId xmlns:a16="http://schemas.microsoft.com/office/drawing/2014/main" val="20003"/>
                    </a:ext>
                  </a:extLst>
                </a:gridCol>
                <a:gridCol w="737641">
                  <a:extLst>
                    <a:ext uri="{9D8B030D-6E8A-4147-A177-3AD203B41FA5}">
                      <a16:colId xmlns:a16="http://schemas.microsoft.com/office/drawing/2014/main" val="20004"/>
                    </a:ext>
                  </a:extLst>
                </a:gridCol>
                <a:gridCol w="983521">
                  <a:extLst>
                    <a:ext uri="{9D8B030D-6E8A-4147-A177-3AD203B41FA5}">
                      <a16:colId xmlns:a16="http://schemas.microsoft.com/office/drawing/2014/main" val="20005"/>
                    </a:ext>
                  </a:extLst>
                </a:gridCol>
                <a:gridCol w="656961">
                  <a:extLst>
                    <a:ext uri="{9D8B030D-6E8A-4147-A177-3AD203B41FA5}">
                      <a16:colId xmlns:a16="http://schemas.microsoft.com/office/drawing/2014/main" val="20006"/>
                    </a:ext>
                  </a:extLst>
                </a:gridCol>
                <a:gridCol w="633910">
                  <a:extLst>
                    <a:ext uri="{9D8B030D-6E8A-4147-A177-3AD203B41FA5}">
                      <a16:colId xmlns:a16="http://schemas.microsoft.com/office/drawing/2014/main" val="20007"/>
                    </a:ext>
                  </a:extLst>
                </a:gridCol>
                <a:gridCol w="683854">
                  <a:extLst>
                    <a:ext uri="{9D8B030D-6E8A-4147-A177-3AD203B41FA5}">
                      <a16:colId xmlns:a16="http://schemas.microsoft.com/office/drawing/2014/main" val="20008"/>
                    </a:ext>
                  </a:extLst>
                </a:gridCol>
                <a:gridCol w="653119">
                  <a:extLst>
                    <a:ext uri="{9D8B030D-6E8A-4147-A177-3AD203B41FA5}">
                      <a16:colId xmlns:a16="http://schemas.microsoft.com/office/drawing/2014/main" val="20009"/>
                    </a:ext>
                  </a:extLst>
                </a:gridCol>
                <a:gridCol w="633910">
                  <a:extLst>
                    <a:ext uri="{9D8B030D-6E8A-4147-A177-3AD203B41FA5}">
                      <a16:colId xmlns:a16="http://schemas.microsoft.com/office/drawing/2014/main" val="20010"/>
                    </a:ext>
                  </a:extLst>
                </a:gridCol>
                <a:gridCol w="1037307">
                  <a:extLst>
                    <a:ext uri="{9D8B030D-6E8A-4147-A177-3AD203B41FA5}">
                      <a16:colId xmlns:a16="http://schemas.microsoft.com/office/drawing/2014/main" val="20011"/>
                    </a:ext>
                  </a:extLst>
                </a:gridCol>
                <a:gridCol w="282396">
                  <a:extLst>
                    <a:ext uri="{9D8B030D-6E8A-4147-A177-3AD203B41FA5}">
                      <a16:colId xmlns:a16="http://schemas.microsoft.com/office/drawing/2014/main" val="20012"/>
                    </a:ext>
                  </a:extLst>
                </a:gridCol>
                <a:gridCol w="1100680">
                  <a:extLst>
                    <a:ext uri="{9D8B030D-6E8A-4147-A177-3AD203B41FA5}">
                      <a16:colId xmlns:a16="http://schemas.microsoft.com/office/drawing/2014/main" val="20013"/>
                    </a:ext>
                  </a:extLst>
                </a:gridCol>
                <a:gridCol w="699217">
                  <a:extLst>
                    <a:ext uri="{9D8B030D-6E8A-4147-A177-3AD203B41FA5}">
                      <a16:colId xmlns:a16="http://schemas.microsoft.com/office/drawing/2014/main" val="20014"/>
                    </a:ext>
                  </a:extLst>
                </a:gridCol>
              </a:tblGrid>
              <a:tr h="0">
                <a:tc>
                  <a:txBody>
                    <a:bodyPr/>
                    <a:lstStyle/>
                    <a:p>
                      <a:pPr algn="l" fontAlgn="t"/>
                      <a:r>
                        <a:rPr lang="en-US" altLang="ja-JP" sz="500" u="none" strike="noStrike">
                          <a:effectLst/>
                        </a:rPr>
                        <a:t>#</a:t>
                      </a:r>
                      <a:endParaRPr lang="en-US" altLang="ja-JP"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カテゴリ</a:t>
                      </a:r>
                      <a:endParaRPr lang="ja-JP" altLang="en-US"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評価項目</a:t>
                      </a:r>
                      <a:endParaRPr lang="ja-JP" altLang="en-US"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備考</a:t>
                      </a:r>
                      <a:endParaRPr lang="ja-JP" altLang="en-US"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評価結果・コメント</a:t>
                      </a:r>
                      <a:br>
                        <a:rPr lang="ja-JP" altLang="en-US" sz="500" u="none" strike="noStrike">
                          <a:effectLst/>
                        </a:rPr>
                      </a:br>
                      <a:r>
                        <a:rPr lang="ja-JP" altLang="en-US" sz="500" u="none" strike="noStrike">
                          <a:effectLst/>
                        </a:rPr>
                        <a:t>○：要件を十分満たす</a:t>
                      </a:r>
                      <a:br>
                        <a:rPr lang="ja-JP" altLang="en-US" sz="500" u="none" strike="noStrike">
                          <a:effectLst/>
                        </a:rPr>
                      </a:br>
                      <a:r>
                        <a:rPr lang="ja-JP" altLang="en-US" sz="500" u="none" strike="noStrike">
                          <a:effectLst/>
                        </a:rPr>
                        <a:t>△：要件を満たすか情報が不十分</a:t>
                      </a:r>
                      <a:br>
                        <a:rPr lang="ja-JP" altLang="en-US" sz="500" u="none" strike="noStrike">
                          <a:effectLst/>
                        </a:rPr>
                      </a:br>
                      <a:r>
                        <a:rPr lang="en-US" altLang="ja-JP" sz="500" u="none" strike="noStrike">
                          <a:effectLst/>
                        </a:rPr>
                        <a:t>×</a:t>
                      </a:r>
                      <a:r>
                        <a:rPr lang="ja-JP" altLang="en-US" sz="500" u="none" strike="noStrike">
                          <a:effectLst/>
                        </a:rPr>
                        <a:t>：要件を十分満たせない</a:t>
                      </a:r>
                      <a:endParaRPr lang="ja-JP" altLang="en-US"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DocuWar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lfresco Content Service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harePoint Onlin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Teamcente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ras Innovato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erviceNow</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楽々</a:t>
                      </a:r>
                      <a:r>
                        <a:rPr lang="de-DE" sz="500" u="none" strike="noStrike">
                          <a:effectLst/>
                        </a:rPr>
                        <a:t>Document Plu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martDB</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0"/>
                  </a:ext>
                </a:extLst>
              </a:tr>
              <a:tr h="0">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は</a:t>
                      </a:r>
                      <a:r>
                        <a:rPr lang="de-DE" sz="500" u="none" strike="noStrike">
                          <a:effectLst/>
                        </a:rPr>
                        <a:t>Connector</a:t>
                      </a:r>
                      <a:r>
                        <a:rPr lang="ja-JP" altLang="en-US" sz="500" u="none" strike="noStrike">
                          <a:effectLst/>
                        </a:rPr>
                        <a:t>で</a:t>
                      </a:r>
                      <a:r>
                        <a:rPr lang="de-DE" sz="500" u="none" strike="noStrike">
                          <a:effectLst/>
                        </a:rPr>
                        <a:t>SAP</a:t>
                      </a:r>
                      <a:r>
                        <a:rPr lang="ja-JP" altLang="en-US" sz="500" u="none" strike="noStrike">
                          <a:effectLst/>
                        </a:rPr>
                        <a:t>との連携が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1"/>
                  </a:ext>
                </a:extLst>
              </a:tr>
              <a:tr h="434691">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REST API</a:t>
                      </a:r>
                      <a:r>
                        <a:rPr lang="ja-JP" altLang="en-US" sz="500" u="none" strike="noStrike">
                          <a:effectLst/>
                        </a:rPr>
                        <a:t>や</a:t>
                      </a:r>
                      <a:r>
                        <a:rPr lang="de-DE" sz="500" u="none" strike="noStrike">
                          <a:effectLst/>
                        </a:rPr>
                        <a:t>PowerPlatform</a:t>
                      </a:r>
                      <a:r>
                        <a:rPr lang="ja-JP" altLang="en-US" sz="500" u="none" strike="noStrike">
                          <a:effectLst/>
                        </a:rPr>
                        <a:t>コネクタを利用した</a:t>
                      </a:r>
                      <a:r>
                        <a:rPr lang="de-DE" sz="500" u="none" strike="noStrike">
                          <a:effectLst/>
                        </a:rPr>
                        <a:t>SAP、SharePointOnline</a:t>
                      </a:r>
                      <a:r>
                        <a:rPr lang="ja-JP" altLang="en-US" sz="500" u="none" strike="noStrike">
                          <a:effectLst/>
                        </a:rPr>
                        <a:t>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a:t>
                      </a:r>
                      <a:r>
                        <a:rPr lang="en-US" altLang="ja-JP" sz="500" u="none" strike="noStrike">
                          <a:effectLst/>
                        </a:rPr>
                        <a:t>Oracle</a:t>
                      </a:r>
                      <a:r>
                        <a:rPr lang="ja-JP" altLang="en-US" sz="500" u="none" strike="noStrike">
                          <a:effectLst/>
                        </a:rPr>
                        <a:t>、</a:t>
                      </a:r>
                      <a:r>
                        <a:rPr lang="en-US" altLang="ja-JP" sz="500" u="none" strike="noStrike">
                          <a:effectLst/>
                        </a:rPr>
                        <a:t>Entra ID</a:t>
                      </a:r>
                      <a:r>
                        <a:rPr lang="ja-JP" altLang="en-US" sz="500" u="none" strike="noStrike">
                          <a:effectLst/>
                        </a:rPr>
                        <a:t>との連携は</a:t>
                      </a:r>
                      <a:r>
                        <a:rPr lang="en-US" altLang="ja-JP" sz="500" u="none" strike="noStrike">
                          <a:effectLst/>
                        </a:rPr>
                        <a:t>MS</a:t>
                      </a:r>
                      <a:r>
                        <a:rPr lang="ja-JP" altLang="en-US" sz="500" u="none" strike="noStrike">
                          <a:effectLst/>
                        </a:rPr>
                        <a:t>社ドキュメントに連携可能と記載あり。ただし、</a:t>
                      </a:r>
                      <a:r>
                        <a:rPr lang="en-US" altLang="ja-JP" sz="500" u="none" strike="noStrike">
                          <a:effectLst/>
                        </a:rPr>
                        <a:t>SAP, Oracle</a:t>
                      </a:r>
                      <a:r>
                        <a:rPr lang="ja-JP" altLang="en-US" sz="500" u="none" strike="noStrike">
                          <a:effectLst/>
                        </a:rPr>
                        <a:t>と接続した実績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の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直接の連携は出来ず、データは必ず楽々</a:t>
                      </a:r>
                      <a:r>
                        <a:rPr lang="en-US" altLang="ja-JP" sz="500" u="none" strike="noStrike">
                          <a:effectLst/>
                        </a:rPr>
                        <a:t>Document Plus</a:t>
                      </a:r>
                      <a:r>
                        <a:rPr lang="ja-JP" altLang="en-US" sz="500" u="none" strike="noStrike">
                          <a:effectLst/>
                        </a:rPr>
                        <a:t>のサーバ内に保管する必要あり</a:t>
                      </a:r>
                      <a:br>
                        <a:rPr lang="ja-JP" altLang="en-US" sz="500" u="none" strike="noStrike">
                          <a:effectLst/>
                        </a:rPr>
                      </a:br>
                      <a:r>
                        <a:rPr lang="ja-JP" altLang="en-US" sz="500" u="none" strike="noStrike">
                          <a:effectLst/>
                        </a:rPr>
                        <a:t>該当システムから連携用の</a:t>
                      </a:r>
                      <a:r>
                        <a:rPr lang="en-US" altLang="ja-JP" sz="500" u="none" strike="noStrike">
                          <a:effectLst/>
                        </a:rPr>
                        <a:t>CSV</a:t>
                      </a:r>
                      <a:r>
                        <a:rPr lang="ja-JP" altLang="en-US" sz="500" u="none" strike="noStrike">
                          <a:effectLst/>
                        </a:rPr>
                        <a:t>ファイルを出力いただき、定期に楽々</a:t>
                      </a:r>
                      <a:r>
                        <a:rPr lang="en-US" altLang="ja-JP" sz="500" u="none" strike="noStrike">
                          <a:effectLst/>
                        </a:rPr>
                        <a:t>Document Plus(DP)</a:t>
                      </a:r>
                      <a:r>
                        <a:rPr lang="ja-JP" altLang="en-US" sz="500" u="none" strike="noStrike">
                          <a:effectLst/>
                        </a:rPr>
                        <a:t>へデータを登録する仕組みはご案内できます。</a:t>
                      </a:r>
                      <a:br>
                        <a:rPr lang="ja-JP" altLang="en-US" sz="500" u="none" strike="noStrike">
                          <a:effectLst/>
                        </a:rPr>
                      </a:br>
                      <a:r>
                        <a:rPr lang="ja-JP" altLang="en-US" sz="500" u="none" strike="noStrike">
                          <a:effectLst/>
                        </a:rPr>
                        <a:t>製品概要</a:t>
                      </a:r>
                      <a:r>
                        <a:rPr lang="en-US" altLang="ja-JP" sz="500" u="none" strike="noStrike">
                          <a:effectLst/>
                        </a:rPr>
                        <a:t>24</a:t>
                      </a:r>
                      <a:r>
                        <a:rPr lang="ja-JP" altLang="en-US" sz="500" u="none" strike="noStrike">
                          <a:effectLst/>
                        </a:rPr>
                        <a:t>ページをご参照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は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2"/>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の</a:t>
                      </a:r>
                      <a:r>
                        <a:rPr lang="de-DE" sz="500" u="none" strike="noStrike">
                          <a:effectLst/>
                        </a:rPr>
                        <a:t>EntraID</a:t>
                      </a:r>
                      <a:r>
                        <a:rPr lang="ja-JP" altLang="en-US" sz="500" u="none" strike="noStrike">
                          <a:effectLst/>
                        </a:rPr>
                        <a:t>のサポートは内臓</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3"/>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EntraID</a:t>
                      </a:r>
                      <a:r>
                        <a:rPr lang="ja-JP" altLang="en-US" sz="500" u="none" strike="noStrike">
                          <a:effectLst/>
                        </a:rPr>
                        <a:t>とユーザ情報、グループ情報の同期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LDAPS</a:t>
                      </a:r>
                      <a:r>
                        <a:rPr lang="ja-JP" altLang="en-US" sz="500" u="none" strike="noStrike">
                          <a:effectLst/>
                        </a:rPr>
                        <a:t>にて</a:t>
                      </a:r>
                      <a:r>
                        <a:rPr lang="en-US" altLang="ja-JP" sz="500" u="none" strike="noStrike">
                          <a:effectLst/>
                        </a:rPr>
                        <a:t>Azure AD</a:t>
                      </a:r>
                      <a:r>
                        <a:rPr lang="ja-JP" altLang="en-US" sz="500" u="none" strike="noStrike">
                          <a:effectLst/>
                        </a:rPr>
                        <a:t>内のユーザー情報の取得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Microsoft</a:t>
                      </a:r>
                      <a:r>
                        <a:rPr lang="ja-JP" altLang="en-US" sz="500" u="none" strike="noStrike">
                          <a:effectLst/>
                        </a:rPr>
                        <a:t>社が</a:t>
                      </a:r>
                      <a:r>
                        <a:rPr lang="de-DE" sz="500" u="none" strike="noStrike">
                          <a:effectLst/>
                        </a:rPr>
                        <a:t>EntraID</a:t>
                      </a:r>
                      <a:r>
                        <a:rPr lang="ja-JP" altLang="en-US" sz="500" u="none" strike="noStrike">
                          <a:effectLst/>
                        </a:rPr>
                        <a:t>をサポー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4"/>
                  </a:ext>
                </a:extLst>
              </a:tr>
              <a:tr h="0">
                <a:tc>
                  <a:txBody>
                    <a:bodyPr/>
                    <a:lstStyle/>
                    <a:p>
                      <a:pPr algn="r" fontAlgn="t"/>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en-US" altLang="ja-JP" sz="500" u="none" strike="noStrike">
                          <a:effectLst/>
                        </a:rPr>
                        <a:t>Power Platform</a:t>
                      </a:r>
                      <a:r>
                        <a:rPr lang="ja-JP" altLang="en-US" sz="500" u="none" strike="noStrike">
                          <a:effectLst/>
                        </a:rPr>
                        <a:t>の</a:t>
                      </a:r>
                      <a:r>
                        <a:rPr lang="en-US" altLang="ja-JP" sz="500" u="none" strike="noStrike">
                          <a:effectLst/>
                        </a:rPr>
                        <a:t>Connector</a:t>
                      </a:r>
                      <a:r>
                        <a:rPr lang="ja-JP" altLang="en-US" sz="500" u="none" strike="noStrike">
                          <a:effectLst/>
                        </a:rPr>
                        <a:t>サポート対象はすべてサポート対象</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5"/>
                  </a:ext>
                </a:extLst>
              </a:tr>
              <a:tr h="637208">
                <a:tc>
                  <a:txBody>
                    <a:bodyPr/>
                    <a:lstStyle/>
                    <a:p>
                      <a:pPr algn="r" fontAlgn="ctr"/>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Local Data Connector</a:t>
                      </a:r>
                      <a:r>
                        <a:rPr lang="ja-JP" altLang="en-US" sz="500" u="none" strike="noStrike">
                          <a:effectLst/>
                        </a:rPr>
                        <a:t>」オプションでオンプレの</a:t>
                      </a:r>
                      <a:r>
                        <a:rPr lang="en-US" altLang="ja-JP" sz="500" u="none" strike="noStrike">
                          <a:effectLst/>
                        </a:rPr>
                        <a:t>OracleDatabase</a:t>
                      </a:r>
                      <a:r>
                        <a:rPr lang="ja-JP" altLang="en-US" sz="500" u="none" strike="noStrike">
                          <a:effectLst/>
                        </a:rPr>
                        <a:t>と連携できます。</a:t>
                      </a:r>
                      <a:br>
                        <a:rPr lang="ja-JP" altLang="en-US" sz="500" u="none" strike="noStrike">
                          <a:effectLst/>
                        </a:rPr>
                      </a:br>
                      <a:r>
                        <a:rPr lang="ja-JP" altLang="en-US" sz="500" u="none" strike="noStrike">
                          <a:effectLst/>
                        </a:rPr>
                        <a:t>現在想定されている連携での操作等ございましたら、お聞かせ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ctr"/>
                      <a:r>
                        <a:rPr lang="de-DE" sz="500" u="none" strike="noStrike">
                          <a:effectLst/>
                        </a:rPr>
                        <a:t>Oracle</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Core Content</a:t>
                      </a:r>
                      <a:r>
                        <a:rPr lang="ja-JP" altLang="en-US" sz="500" u="none" strike="noStrike">
                          <a:effectLst/>
                        </a:rPr>
                        <a:t>も</a:t>
                      </a:r>
                      <a:r>
                        <a:rPr lang="en-US" altLang="ja-JP" sz="500" u="none" strike="noStrike">
                          <a:effectLst/>
                        </a:rPr>
                        <a:t>Content Management</a:t>
                      </a:r>
                      <a:r>
                        <a:rPr lang="ja-JP" altLang="en-US" sz="500" u="none" strike="noStrike">
                          <a:effectLst/>
                        </a:rPr>
                        <a:t>も標準的に</a:t>
                      </a:r>
                      <a:r>
                        <a:rPr lang="en-US" altLang="ja-JP" sz="500" u="none" strike="noStrike">
                          <a:effectLst/>
                        </a:rPr>
                        <a:t>SAP</a:t>
                      </a:r>
                      <a:r>
                        <a:rPr lang="ja-JP" altLang="en-US" sz="500" u="none" strike="noStrike">
                          <a:effectLst/>
                        </a:rPr>
                        <a:t>（</a:t>
                      </a:r>
                      <a:r>
                        <a:rPr lang="en-US" altLang="ja-JP" sz="500" u="none" strike="noStrike">
                          <a:effectLst/>
                        </a:rPr>
                        <a:t>SFSF</a:t>
                      </a:r>
                      <a:r>
                        <a:rPr lang="ja-JP" altLang="en-US" sz="500" u="none" strike="noStrike">
                          <a:effectLst/>
                        </a:rPr>
                        <a:t>含む）、</a:t>
                      </a:r>
                      <a:r>
                        <a:rPr lang="en-US" altLang="ja-JP" sz="500" u="none" strike="noStrike">
                          <a:effectLst/>
                        </a:rPr>
                        <a:t>SFDC</a:t>
                      </a:r>
                      <a:r>
                        <a:rPr lang="ja-JP" altLang="en-US" sz="500" u="none" strike="noStrike">
                          <a:effectLst/>
                        </a:rPr>
                        <a:t>、</a:t>
                      </a:r>
                      <a:r>
                        <a:rPr lang="en-US" altLang="ja-JP" sz="500" u="none" strike="noStrike">
                          <a:effectLst/>
                        </a:rPr>
                        <a:t>O365</a:t>
                      </a:r>
                      <a:r>
                        <a:rPr lang="ja-JP" altLang="en-US" sz="500" u="none" strike="noStrike">
                          <a:effectLst/>
                        </a:rPr>
                        <a:t>との連携が可能です。</a:t>
                      </a:r>
                      <a:br>
                        <a:rPr lang="ja-JP" altLang="en-US" sz="500" u="none" strike="noStrike">
                          <a:effectLst/>
                        </a:rPr>
                      </a:br>
                      <a:r>
                        <a:rPr lang="ja-JP" altLang="en-US" sz="500" u="none" strike="noStrike">
                          <a:effectLst/>
                        </a:rPr>
                        <a:t>フルスクラッチされたローカルシステムですと、標準的な連携機能ではなく、ご提供している</a:t>
                      </a:r>
                      <a:r>
                        <a:rPr lang="en-US" altLang="ja-JP" sz="500" u="none" strike="noStrike">
                          <a:effectLst/>
                        </a:rPr>
                        <a:t>API</a:t>
                      </a:r>
                      <a:r>
                        <a:rPr lang="ja-JP" altLang="en-US" sz="500" u="none" strike="noStrike">
                          <a:effectLst/>
                        </a:rPr>
                        <a:t>をベースに連携することになるかと存じます。</a:t>
                      </a:r>
                      <a:br>
                        <a:rPr lang="ja-JP" altLang="en-US" sz="500" u="none" strike="noStrike">
                          <a:effectLst/>
                        </a:rPr>
                      </a:br>
                      <a:r>
                        <a:rPr lang="ja-JP" altLang="en-US" sz="500" u="none" strike="noStrike">
                          <a:effectLst/>
                        </a:rPr>
                        <a:t>標準で連携が可能なシステムは、例えば</a:t>
                      </a:r>
                      <a:r>
                        <a:rPr lang="en-US" altLang="ja-JP" sz="500" u="none" strike="noStrike">
                          <a:effectLst/>
                        </a:rPr>
                        <a:t>SAP</a:t>
                      </a:r>
                      <a:r>
                        <a:rPr lang="ja-JP" altLang="en-US" sz="500" u="none" strike="noStrike">
                          <a:effectLst/>
                        </a:rPr>
                        <a:t>の調達の帳票に対して文書の情報をメタデータとして一緒に取り込む機能などがございま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6"/>
                  </a:ext>
                </a:extLst>
              </a:tr>
              <a:tr h="0">
                <a:tc>
                  <a:txBody>
                    <a:bodyPr/>
                    <a:lstStyle/>
                    <a:p>
                      <a:pPr algn="r" fontAlgn="t"/>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BI</a:t>
                      </a:r>
                      <a:r>
                        <a:rPr lang="ja-JP" altLang="en-US" sz="500" u="none" strike="noStrike">
                          <a:effectLst/>
                        </a:rPr>
                        <a:t>で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7"/>
                  </a:ext>
                </a:extLst>
              </a:tr>
              <a:tr h="998848">
                <a:tc>
                  <a:txBody>
                    <a:bodyPr/>
                    <a:lstStyle/>
                    <a:p>
                      <a:pPr algn="r" fontAlgn="ctr"/>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データ分析</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DocuWare</a:t>
                      </a:r>
                      <a:r>
                        <a:rPr lang="ja-JP" altLang="en-US" sz="500" u="none" strike="noStrike">
                          <a:effectLst/>
                        </a:rPr>
                        <a:t>自体にはデータ分析機能の搭載はありませんが、現在の文書のステータスからリアルタイムに条件に合う一覧表示を行うリスト機能はあります。</a:t>
                      </a:r>
                      <a:br>
                        <a:rPr lang="ja-JP" altLang="en-US" sz="500" u="none" strike="noStrike">
                          <a:effectLst/>
                        </a:rPr>
                      </a:br>
                      <a:r>
                        <a:rPr lang="ja-JP" altLang="en-US" sz="500" u="none" strike="noStrike">
                          <a:effectLst/>
                        </a:rPr>
                        <a:t>特定の条件下でのリストの</a:t>
                      </a:r>
                      <a:r>
                        <a:rPr lang="en-US" altLang="ja-JP" sz="500" u="none" strike="noStrike">
                          <a:effectLst/>
                        </a:rPr>
                        <a:t>CSV</a:t>
                      </a:r>
                      <a:r>
                        <a:rPr lang="ja-JP" altLang="en-US" sz="500" u="none" strike="noStrike">
                          <a:effectLst/>
                        </a:rPr>
                        <a:t>出力も可能ですので、分析に必要となるメタデータを</a:t>
                      </a:r>
                      <a:r>
                        <a:rPr lang="en-US" altLang="ja-JP" sz="500" u="none" strike="noStrike">
                          <a:effectLst/>
                        </a:rPr>
                        <a:t>DocuWare</a:t>
                      </a:r>
                      <a:r>
                        <a:rPr lang="ja-JP" altLang="en-US" sz="500" u="none" strike="noStrike">
                          <a:effectLst/>
                        </a:rPr>
                        <a:t>で保持いただくことで分析に活用いただくことができるかと考えま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PowerBI</a:t>
                      </a:r>
                      <a:r>
                        <a:rPr lang="ja-JP" altLang="en-US" sz="500" u="none" strike="noStrike">
                          <a:effectLst/>
                        </a:rPr>
                        <a:t>や</a:t>
                      </a:r>
                      <a:r>
                        <a:rPr lang="de-DE" sz="500" u="none" strike="noStrike">
                          <a:effectLst/>
                        </a:rPr>
                        <a:t>Power Apps</a:t>
                      </a:r>
                      <a:r>
                        <a:rPr lang="ja-JP" altLang="en-US" sz="500" u="none" strike="noStrike">
                          <a:effectLst/>
                        </a:rPr>
                        <a:t>を用いてデータ分析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いずれもレポートの機能はありますが、レポートの出力が標準ではできません。</a:t>
                      </a:r>
                      <a:br>
                        <a:rPr lang="ja-JP" altLang="en-US" sz="500" u="none" strike="noStrike">
                          <a:effectLst/>
                        </a:rPr>
                      </a:br>
                      <a:r>
                        <a:rPr lang="ja-JP" altLang="en-US" sz="500" u="none" strike="noStrike">
                          <a:effectLst/>
                        </a:rPr>
                        <a:t>また、標準で用意している範囲のレポートのテンプレートとあっているか要件定義を推奨します。</a:t>
                      </a:r>
                      <a:br>
                        <a:rPr lang="ja-JP" altLang="en-US" sz="500" u="none" strike="noStrike">
                          <a:effectLst/>
                        </a:rPr>
                      </a:br>
                      <a:r>
                        <a:rPr lang="ja-JP" altLang="en-US" sz="500" u="none" strike="noStrike">
                          <a:effectLst/>
                        </a:rPr>
                        <a:t>例として、</a:t>
                      </a:r>
                      <a:r>
                        <a:rPr lang="en-US" altLang="ja-JP" sz="500" u="none" strike="noStrike">
                          <a:effectLst/>
                        </a:rPr>
                        <a:t>Core Content</a:t>
                      </a:r>
                      <a:r>
                        <a:rPr lang="ja-JP" altLang="en-US" sz="500" u="none" strike="noStrike">
                          <a:effectLst/>
                        </a:rPr>
                        <a:t>では共有文書のステータス一覧、文書に対するアクセス情報、</a:t>
                      </a:r>
                      <a:r>
                        <a:rPr lang="en-US" altLang="ja-JP" sz="500" u="none" strike="noStrike">
                          <a:effectLst/>
                        </a:rPr>
                        <a:t>HOLD</a:t>
                      </a:r>
                      <a:r>
                        <a:rPr lang="ja-JP" altLang="en-US" sz="500" u="none" strike="noStrike">
                          <a:effectLst/>
                        </a:rPr>
                        <a:t>、期限を設定することで自動削除とその報告などの内容をレポートとして表示できます。</a:t>
                      </a:r>
                      <a:br>
                        <a:rPr lang="ja-JP" altLang="en-US" sz="500" u="none" strike="noStrike">
                          <a:effectLst/>
                        </a:rPr>
                      </a:br>
                      <a:r>
                        <a:rPr lang="en-US" altLang="ja-JP" sz="500" u="none" strike="noStrike">
                          <a:effectLst/>
                        </a:rPr>
                        <a:t>Content Management</a:t>
                      </a:r>
                      <a:r>
                        <a:rPr lang="ja-JP" altLang="en-US" sz="500" u="none" strike="noStrike">
                          <a:effectLst/>
                        </a:rPr>
                        <a:t>ではもう少し細かいレベルまでレポートの内容を設定できます。</a:t>
                      </a:r>
                      <a:br>
                        <a:rPr lang="ja-JP" altLang="en-US" sz="500" u="none" strike="noStrike">
                          <a:effectLst/>
                        </a:rPr>
                      </a:br>
                      <a:r>
                        <a:rPr lang="ja-JP" altLang="en-US" sz="500" u="none" strike="noStrike">
                          <a:effectLst/>
                        </a:rPr>
                        <a:t>例示頂いた内容ですと、文書の利用頻度などは対応可能かと思いますが、文書検索の条件の傾向だけ標準でサポートするテンプレートなどの用意がありません。</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8"/>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他機能と運用要件</a:t>
            </a:r>
            <a:endParaRPr kumimoji="1" lang="ja-JP" altLang="en-US"/>
          </a:p>
        </p:txBody>
      </p:sp>
      <p:sp>
        <p:nvSpPr>
          <p:cNvPr id="4" name="コンテンツ プレースホルダー 3"/>
          <p:cNvSpPr>
            <a:spLocks noGrp="1"/>
          </p:cNvSpPr>
          <p:nvPr>
            <p:ph sz="quarter" idx="10"/>
          </p:nvPr>
        </p:nvSpPr>
        <p:spPr/>
        <p:txBody>
          <a:bodyPr/>
          <a:lstStyle/>
          <a:p>
            <a:r>
              <a:rPr lang="ja-JP" altLang="en-US"/>
              <a:t>運用（</a:t>
            </a:r>
            <a:r>
              <a:rPr lang="en-US" altLang="ja-JP"/>
              <a:t>OPEX</a:t>
            </a:r>
            <a:r>
              <a:rPr lang="ja-JP" altLang="en-US"/>
              <a:t>）はパッケージ導入なしのため、対応要員体制のみ</a:t>
            </a:r>
            <a:endParaRPr lang="en-US" altLang="ja-JP"/>
          </a:p>
          <a:p>
            <a:r>
              <a:rPr lang="en-US" altLang="ja-JP"/>
              <a:t>【</a:t>
            </a:r>
            <a:r>
              <a:rPr lang="ja-JP" altLang="en-US"/>
              <a:t>新アプリ</a:t>
            </a:r>
            <a:r>
              <a:rPr lang="en-US" altLang="ja-JP"/>
              <a:t>】</a:t>
            </a:r>
            <a:r>
              <a:rPr lang="ja-JP" altLang="en-US"/>
              <a:t>機能要件一覧 </a:t>
            </a:r>
            <a:r>
              <a:rPr lang="en-US" altLang="ja-JP"/>
              <a:t>V1.1.xlsx</a:t>
            </a:r>
            <a:r>
              <a:rPr lang="ja-JP" altLang="en-US"/>
              <a:t>　にコメント</a:t>
            </a:r>
            <a:endParaRPr lang="en-US" altLang="ja-JP"/>
          </a:p>
          <a:p>
            <a:r>
              <a:rPr lang="ja-JP" altLang="en-US"/>
              <a:t>気になるのは、</a:t>
            </a:r>
            <a:r>
              <a:rPr lang="en-US" altLang="ja-JP"/>
              <a:t>PDF</a:t>
            </a:r>
            <a:r>
              <a:rPr lang="ja-JP" altLang="en-US"/>
              <a:t>作成機能のみ（文書内容と添付ファイルをまとめた印刷が必要となる場合、要件はさらに確認要）</a:t>
            </a:r>
            <a:endParaRPr lang="en-US" altLang="ja-JP"/>
          </a:p>
          <a:p>
            <a:r>
              <a:rPr lang="ja-JP" altLang="en-US"/>
              <a:t>性能考慮（管理対象のヴォリュームにより、</a:t>
            </a:r>
            <a:r>
              <a:rPr lang="en-US" altLang="ja-JP"/>
              <a:t>Dataverse</a:t>
            </a:r>
            <a:r>
              <a:rPr lang="ja-JP" altLang="en-US"/>
              <a:t>を利用せず、</a:t>
            </a:r>
            <a:r>
              <a:rPr lang="en-US" altLang="ja-JP" err="1"/>
              <a:t>Sqlserver</a:t>
            </a:r>
            <a:r>
              <a:rPr lang="ja-JP" altLang="en-US"/>
              <a:t>を利用する案がある、性能評価次第）</a:t>
            </a:r>
            <a:endParaRPr lang="en-US" altLang="ja-JP"/>
          </a:p>
          <a:p>
            <a:r>
              <a:rPr lang="ja-JP" altLang="en-US"/>
              <a:t>権限管理（</a:t>
            </a:r>
            <a:r>
              <a:rPr lang="en-US" altLang="ja-JP"/>
              <a:t>Notes</a:t>
            </a:r>
            <a:r>
              <a:rPr lang="ja-JP" altLang="en-US"/>
              <a:t>同等の権限設計が必要、</a:t>
            </a:r>
            <a:r>
              <a:rPr lang="en-US" altLang="ja-JP"/>
              <a:t>Vesta</a:t>
            </a:r>
            <a:r>
              <a:rPr lang="ja-JP" altLang="en-US"/>
              <a:t>再構築案が参考できる）</a:t>
            </a:r>
            <a:endParaRPr lang="en-US" altLang="ja-JP"/>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6713 w 10000"/>
              <a:gd name="connsiteY2-6" fmla="*/ 10000 h 10000"/>
              <a:gd name="connsiteX3-7" fmla="*/ 2000 w 10000"/>
              <a:gd name="connsiteY3-8" fmla="*/ 10000 h 10000"/>
              <a:gd name="connsiteX4-9" fmla="*/ 0 w 10000"/>
              <a:gd name="connsiteY4-10" fmla="*/ 0 h 10000"/>
              <a:gd name="connsiteX0-11" fmla="*/ 0 w 10000"/>
              <a:gd name="connsiteY0-12" fmla="*/ 0 h 10000"/>
              <a:gd name="connsiteX1-13" fmla="*/ 10000 w 10000"/>
              <a:gd name="connsiteY1-14" fmla="*/ 0 h 10000"/>
              <a:gd name="connsiteX2-15" fmla="*/ 6713 w 10000"/>
              <a:gd name="connsiteY2-16" fmla="*/ 10000 h 10000"/>
              <a:gd name="connsiteX3-17" fmla="*/ 3258 w 10000"/>
              <a:gd name="connsiteY3-18" fmla="*/ 10000 h 10000"/>
              <a:gd name="connsiteX4-19" fmla="*/ 0 w 10000"/>
              <a:gd name="connsiteY4-20" fmla="*/ 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p:cNvSpPr txBox="1"/>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様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様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p:cNvSpPr txBox="1"/>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p:cNvSpPr txBox="1"/>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選定フローと評価項目に基づいて評価した結果、</a:t>
            </a:r>
            <a:r>
              <a:rPr lang="ja-JP" altLang="en-US">
                <a:latin typeface="Yu Gothic UI" panose="020B0500000000000000" pitchFamily="50" charset="-128"/>
                <a:ea typeface="Yu Gothic UI" panose="020B0500000000000000" pitchFamily="50" charset="-128"/>
              </a:rPr>
              <a:t>２</a:t>
            </a:r>
            <a:r>
              <a:rPr kumimoji="1" lang="ja-JP" altLang="en-US">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rgbClr val="FF0000"/>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p:cNvGraphicFramePr>
            <a:graphicFrameLocks noGrp="1"/>
          </p:cNvGraphicFramePr>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20000"/>
                    </a:ext>
                  </a:extLst>
                </a:gridCol>
                <a:gridCol w="2593104">
                  <a:extLst>
                    <a:ext uri="{9D8B030D-6E8A-4147-A177-3AD203B41FA5}">
                      <a16:colId xmlns:a16="http://schemas.microsoft.com/office/drawing/2014/main" val="20001"/>
                    </a:ext>
                  </a:extLst>
                </a:gridCol>
                <a:gridCol w="826928">
                  <a:extLst>
                    <a:ext uri="{9D8B030D-6E8A-4147-A177-3AD203B41FA5}">
                      <a16:colId xmlns:a16="http://schemas.microsoft.com/office/drawing/2014/main" val="20002"/>
                    </a:ext>
                  </a:extLst>
                </a:gridCol>
                <a:gridCol w="826928">
                  <a:extLst>
                    <a:ext uri="{9D8B030D-6E8A-4147-A177-3AD203B41FA5}">
                      <a16:colId xmlns:a16="http://schemas.microsoft.com/office/drawing/2014/main" val="20003"/>
                    </a:ext>
                  </a:extLst>
                </a:gridCol>
                <a:gridCol w="826928">
                  <a:extLst>
                    <a:ext uri="{9D8B030D-6E8A-4147-A177-3AD203B41FA5}">
                      <a16:colId xmlns:a16="http://schemas.microsoft.com/office/drawing/2014/main" val="20004"/>
                    </a:ext>
                  </a:extLst>
                </a:gridCol>
                <a:gridCol w="826928">
                  <a:extLst>
                    <a:ext uri="{9D8B030D-6E8A-4147-A177-3AD203B41FA5}">
                      <a16:colId xmlns:a16="http://schemas.microsoft.com/office/drawing/2014/main" val="20005"/>
                    </a:ext>
                  </a:extLst>
                </a:gridCol>
                <a:gridCol w="826928">
                  <a:extLst>
                    <a:ext uri="{9D8B030D-6E8A-4147-A177-3AD203B41FA5}">
                      <a16:colId xmlns:a16="http://schemas.microsoft.com/office/drawing/2014/main" val="20006"/>
                    </a:ext>
                  </a:extLst>
                </a:gridCol>
                <a:gridCol w="826928">
                  <a:extLst>
                    <a:ext uri="{9D8B030D-6E8A-4147-A177-3AD203B41FA5}">
                      <a16:colId xmlns:a16="http://schemas.microsoft.com/office/drawing/2014/main" val="20007"/>
                    </a:ext>
                  </a:extLst>
                </a:gridCol>
                <a:gridCol w="826928">
                  <a:extLst>
                    <a:ext uri="{9D8B030D-6E8A-4147-A177-3AD203B41FA5}">
                      <a16:colId xmlns:a16="http://schemas.microsoft.com/office/drawing/2014/main" val="20008"/>
                    </a:ext>
                  </a:extLst>
                </a:gridCol>
                <a:gridCol w="826928">
                  <a:extLst>
                    <a:ext uri="{9D8B030D-6E8A-4147-A177-3AD203B41FA5}">
                      <a16:colId xmlns:a16="http://schemas.microsoft.com/office/drawing/2014/main" val="20009"/>
                    </a:ext>
                  </a:extLst>
                </a:gridCol>
                <a:gridCol w="826928">
                  <a:extLst>
                    <a:ext uri="{9D8B030D-6E8A-4147-A177-3AD203B41FA5}">
                      <a16:colId xmlns:a16="http://schemas.microsoft.com/office/drawing/2014/main" val="20010"/>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rowSpan="6">
                  <a:txBody>
                    <a:bodyPr/>
                    <a:lstStyle/>
                    <a:p>
                      <a:pPr algn="ctr"/>
                      <a:r>
                        <a:rPr kumimoji="1" lang="ja-JP" altLang="en-US" sz="1050" b="1">
                          <a:solidFill>
                            <a:schemeClr val="bg1"/>
                          </a:solidFill>
                          <a:latin typeface="+mn-ea"/>
                          <a:ea typeface="+mn-ea"/>
                        </a:rPr>
                        <a:t>要件</a:t>
                      </a:r>
                      <a:br>
                        <a:rPr kumimoji="1" lang="en-US" altLang="ja-JP" sz="1050" b="1">
                          <a:solidFill>
                            <a:schemeClr val="bg1"/>
                          </a:solidFill>
                          <a:latin typeface="+mn-ea"/>
                          <a:ea typeface="+mn-ea"/>
                        </a:rPr>
                      </a:br>
                      <a:r>
                        <a:rPr kumimoji="1" lang="ja-JP" altLang="en-US" sz="1050" b="1">
                          <a:solidFill>
                            <a:schemeClr val="bg1"/>
                          </a:solidFill>
                          <a:latin typeface="+mn-ea"/>
                          <a:ea typeface="+mn-ea"/>
                        </a:rPr>
                        <a:t>（抜粋）</a:t>
                      </a:r>
                      <a:endParaRPr kumimoji="1" lang="en-US" altLang="ja-JP" sz="105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指定フォルダへの添付ファイルダウンロード</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添付ファイルの直接編集</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err="1">
                          <a:solidFill>
                            <a:schemeClr val="bg1"/>
                          </a:solidFill>
                          <a:latin typeface="+mn-ea"/>
                          <a:ea typeface="+mn-ea"/>
                        </a:rPr>
                        <a:t>SAP,SharePoint</a:t>
                      </a:r>
                      <a:r>
                        <a:rPr kumimoji="1" lang="ja-JP" altLang="en-US" sz="900" b="0">
                          <a:solidFill>
                            <a:schemeClr val="bg1"/>
                          </a:solidFill>
                          <a:latin typeface="+mn-ea"/>
                          <a:ea typeface="+mn-ea"/>
                        </a:rPr>
                        <a:t>等とのデータ連携</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3492">
                <a:tc vMerge="1">
                  <a:txBody>
                    <a:bodyPr/>
                    <a:lstStyle/>
                    <a:p>
                      <a:endParaRPr lang="ja-JP"/>
                    </a:p>
                  </a:txBody>
                  <a:tcPr/>
                </a:tc>
                <a:tc>
                  <a:txBody>
                    <a:bodyPr/>
                    <a:lstStyle/>
                    <a:p>
                      <a:r>
                        <a:rPr kumimoji="1" lang="en-US" altLang="ja-JP" sz="900" b="0">
                          <a:solidFill>
                            <a:schemeClr val="bg1"/>
                          </a:solidFill>
                          <a:latin typeface="+mn-ea"/>
                          <a:ea typeface="+mn-ea"/>
                        </a:rPr>
                        <a:t>xml</a:t>
                      </a:r>
                      <a:r>
                        <a:rPr kumimoji="1" lang="ja-JP" altLang="en-US" sz="900" b="0">
                          <a:solidFill>
                            <a:schemeClr val="bg1"/>
                          </a:solidFill>
                          <a:latin typeface="+mn-ea"/>
                          <a:ea typeface="+mn-ea"/>
                        </a:rPr>
                        <a:t>ファイル形式による移行</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並列</a:t>
                      </a:r>
                      <a:r>
                        <a:rPr kumimoji="1" lang="en-US" altLang="ja-JP" sz="900" b="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3</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10006"/>
                  </a:ext>
                </a:extLst>
              </a:tr>
            </a:tbl>
          </a:graphicData>
        </a:graphic>
      </p:graphicFrame>
      <p:sp>
        <p:nvSpPr>
          <p:cNvPr id="27" name="正方形/長方形 26"/>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a:solidFill>
                  <a:schemeClr val="bg1"/>
                </a:solidFill>
              </a:rPr>
              <a:t>評価</a:t>
            </a:r>
            <a:r>
              <a:rPr kumimoji="1" lang="ja-JP" altLang="en-US" sz="1200">
                <a:solidFill>
                  <a:schemeClr val="bg1"/>
                </a:solidFill>
              </a:rPr>
              <a:t>経過</a:t>
            </a:r>
            <a:r>
              <a:rPr kumimoji="1" lang="zh-TW" altLang="en-US" sz="1200">
                <a:solidFill>
                  <a:schemeClr val="bg1"/>
                </a:solidFill>
              </a:rPr>
              <a:t>説明</a:t>
            </a:r>
            <a:endParaRPr kumimoji="1" lang="ja-JP" altLang="en-US" sz="1200">
              <a:solidFill>
                <a:schemeClr val="bg1"/>
              </a:solidFill>
            </a:endParaRPr>
          </a:p>
        </p:txBody>
      </p:sp>
      <p:sp>
        <p:nvSpPr>
          <p:cNvPr id="5" name="矢印: 五方向 4"/>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選定の評価経過のご報告</a:t>
            </a:r>
            <a:endParaRPr kumimoji="1" lang="ja-JP" altLang="en-US" sz="1200"/>
          </a:p>
        </p:txBody>
      </p:sp>
      <p:sp>
        <p:nvSpPr>
          <p:cNvPr id="9" name="テキスト ボックス 8"/>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a:t>要件の優先度、コストの大小から総合的に検討</a:t>
            </a:r>
            <a:endParaRPr kumimoji="1" lang="en-US" altLang="ja-JP" sz="1200"/>
          </a:p>
          <a:p>
            <a:pPr marL="171450" indent="-171450">
              <a:spcAft>
                <a:spcPts val="600"/>
              </a:spcAft>
              <a:buFont typeface="Wingdings" panose="05000000000000000000" pitchFamily="2" charset="2"/>
              <a:buChar char="Ø"/>
            </a:pPr>
            <a:r>
              <a:rPr lang="ja-JP" altLang="en-US" sz="1200"/>
              <a:t>ベンダーに対するコスト交渉・</a:t>
            </a:r>
            <a:r>
              <a:rPr lang="en-US" altLang="ja-JP" sz="1200"/>
              <a:t>QA</a:t>
            </a:r>
          </a:p>
          <a:p>
            <a:pPr marL="171450" indent="-171450">
              <a:spcAft>
                <a:spcPts val="600"/>
              </a:spcAft>
              <a:buFont typeface="Wingdings" panose="05000000000000000000" pitchFamily="2" charset="2"/>
              <a:buChar char="Ø"/>
            </a:pPr>
            <a:r>
              <a:rPr kumimoji="1" lang="ja-JP" altLang="en-US" sz="1200"/>
              <a:t>（新規の場合）アーキテクチャ相談会、アーキテクチャコミッティ付議</a:t>
            </a:r>
          </a:p>
        </p:txBody>
      </p:sp>
      <p:sp>
        <p:nvSpPr>
          <p:cNvPr id="11" name="テキスト ボックス 10"/>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103FEB-25E8-5D00-4FA9-C8D33825946C}"/>
              </a:ext>
            </a:extLst>
          </p:cNvPr>
          <p:cNvSpPr>
            <a:spLocks noGrp="1"/>
          </p:cNvSpPr>
          <p:nvPr>
            <p:ph type="title"/>
          </p:nvPr>
        </p:nvSpPr>
        <p:spPr/>
        <p:txBody>
          <a:bodyPr>
            <a:normAutofit fontScale="90000"/>
          </a:bodyPr>
          <a:lstStyle/>
          <a:p>
            <a:endParaRPr kumimoji="1" lang="ja-JP" altLang="en-US"/>
          </a:p>
        </p:txBody>
      </p:sp>
      <p:sp>
        <p:nvSpPr>
          <p:cNvPr id="3" name="コンテンツ プレースホルダー 2">
            <a:extLst>
              <a:ext uri="{FF2B5EF4-FFF2-40B4-BE49-F238E27FC236}">
                <a16:creationId xmlns:a16="http://schemas.microsoft.com/office/drawing/2014/main" id="{960EB5F1-4875-6A6E-72B3-48AE117855DD}"/>
              </a:ext>
            </a:extLst>
          </p:cNvPr>
          <p:cNvSpPr>
            <a:spLocks noGrp="1"/>
          </p:cNvSpPr>
          <p:nvPr>
            <p:ph sz="quarter" idx="10"/>
          </p:nvPr>
        </p:nvSpPr>
        <p:spPr/>
        <p:txBody>
          <a:bodyPr/>
          <a:lstStyle/>
          <a:p>
            <a:endParaRPr kumimoji="1" lang="ja-JP" altLang="en-US"/>
          </a:p>
        </p:txBody>
      </p:sp>
    </p:spTree>
    <p:extLst>
      <p:ext uri="{BB962C8B-B14F-4D97-AF65-F5344CB8AC3E}">
        <p14:creationId xmlns:p14="http://schemas.microsoft.com/office/powerpoint/2010/main" val="1268909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a:t>実装計画</a:t>
            </a:r>
            <a:r>
              <a:rPr lang="ja-JP" altLang="en-US"/>
              <a:t>－リソース、体制</a:t>
            </a:r>
            <a:endParaRPr lang="zh-CN" altLang="en-US">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a:t>案件の規模に合わせて最後に更新</a:t>
            </a:r>
            <a:endParaRPr lang="en-US" altLang="ja-JP"/>
          </a:p>
          <a:p>
            <a:r>
              <a:rPr lang="ja-JP" altLang="en-US"/>
              <a:t>例：要件定義（</a:t>
            </a:r>
            <a:r>
              <a:rPr lang="en-US" altLang="ja-JP"/>
              <a:t>1</a:t>
            </a:r>
            <a:r>
              <a:rPr lang="ja-JP" altLang="en-US"/>
              <a:t>カ月間） → 設計（</a:t>
            </a:r>
            <a:r>
              <a:rPr lang="en-US" altLang="ja-JP"/>
              <a:t>2</a:t>
            </a:r>
            <a:r>
              <a:rPr lang="ja-JP" altLang="en-US"/>
              <a:t>カ月間） → 開発（</a:t>
            </a:r>
            <a:r>
              <a:rPr lang="en-US" altLang="ja-JP"/>
              <a:t>4-6</a:t>
            </a:r>
            <a:r>
              <a:rPr lang="ja-JP" altLang="en-US"/>
              <a:t>カ月間） → テスト（</a:t>
            </a:r>
            <a:r>
              <a:rPr lang="en-US" altLang="ja-JP"/>
              <a:t>2</a:t>
            </a:r>
            <a:r>
              <a:rPr lang="ja-JP" altLang="en-US"/>
              <a:t>カ月間） → 展開（</a:t>
            </a:r>
            <a:r>
              <a:rPr lang="en-US" altLang="ja-JP"/>
              <a:t>1</a:t>
            </a:r>
            <a:r>
              <a:rPr lang="ja-JP" altLang="en-US"/>
              <a:t>カ月間）。</a:t>
            </a:r>
            <a:endParaRPr lang="ja-JP" altLang="en-US">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t>初回の</a:t>
            </a:r>
            <a:r>
              <a:rPr kumimoji="1" lang="en-US" altLang="ja-JP"/>
              <a:t>Estimation</a:t>
            </a:r>
            <a:r>
              <a:rPr kumimoji="1" lang="ja-JP" altLang="en-US"/>
              <a:t>に不要</a:t>
            </a:r>
          </a:p>
        </p:txBody>
      </p:sp>
    </p:spTree>
    <p:extLst>
      <p:ext uri="{BB962C8B-B14F-4D97-AF65-F5344CB8AC3E}">
        <p14:creationId xmlns:p14="http://schemas.microsoft.com/office/powerpoint/2010/main" val="20576605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zh-CN" altLang="en-US"/>
              <a:t>実装計画</a:t>
            </a:r>
            <a:r>
              <a:rPr lang="ja-JP" altLang="en-US"/>
              <a:t>－ガバナンス、コミュニケーションプラン</a:t>
            </a:r>
            <a:endParaRPr lang="zh-CN" altLang="en-US">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a:effectLst/>
              </a:rPr>
              <a:t>ほかの案件を参考</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t>初版には、備考に移動あるいは付与</a:t>
            </a:r>
          </a:p>
        </p:txBody>
      </p:sp>
    </p:spTree>
    <p:extLst>
      <p:ext uri="{BB962C8B-B14F-4D97-AF65-F5344CB8AC3E}">
        <p14:creationId xmlns:p14="http://schemas.microsoft.com/office/powerpoint/2010/main" val="2822401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BDADD-A1F2-E018-61B8-CF30623BAD37}"/>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49E26EE9-90C9-638A-7EE0-53AD9D5D74C8}"/>
              </a:ext>
            </a:extLst>
          </p:cNvPr>
          <p:cNvSpPr>
            <a:spLocks noGrp="1"/>
          </p:cNvSpPr>
          <p:nvPr>
            <p:ph type="title"/>
          </p:nvPr>
        </p:nvSpPr>
        <p:spPr/>
        <p:txBody>
          <a:bodyPr/>
          <a:lstStyle/>
          <a:p>
            <a:r>
              <a:rPr lang="ja-JP" altLang="en-US"/>
              <a:t>以降は作業エリア</a:t>
            </a:r>
          </a:p>
        </p:txBody>
      </p:sp>
      <p:sp>
        <p:nvSpPr>
          <p:cNvPr id="5" name="テキスト プレースホルダー 4">
            <a:extLst>
              <a:ext uri="{FF2B5EF4-FFF2-40B4-BE49-F238E27FC236}">
                <a16:creationId xmlns:a16="http://schemas.microsoft.com/office/drawing/2014/main" id="{FEF36461-31FB-D763-C533-D3E84BF442B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B8B94445-8ACF-45E8-AB20-AB99A6C1313C}"/>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1813203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ja-JP" altLang="en-US"/>
              <a:t>補足資料</a:t>
            </a:r>
            <a:endParaRPr lang="zh-CN" altLang="en-US"/>
          </a:p>
        </p:txBody>
      </p:sp>
      <p:sp>
        <p:nvSpPr>
          <p:cNvPr id="3" name="内容占位符 2"/>
          <p:cNvSpPr>
            <a:spLocks noGrp="1"/>
          </p:cNvSpPr>
          <p:nvPr>
            <p:ph sz="quarter" idx="10"/>
          </p:nvPr>
        </p:nvSpPr>
        <p:spPr/>
        <p:txBody>
          <a:bodyPr/>
          <a:lstStyle/>
          <a:p>
            <a:r>
              <a:rPr lang="ja-JP" altLang="en-US"/>
              <a:t>用語集（必要か？正式ならば、略語と意味の</a:t>
            </a:r>
            <a:r>
              <a:rPr lang="en-US" altLang="ja-JP"/>
              <a:t>Mapping</a:t>
            </a:r>
            <a:r>
              <a:rPr lang="ja-JP" altLang="en-US"/>
              <a:t>表が必要）</a:t>
            </a:r>
            <a:endParaRPr lang="en-US" altLang="ja-JP"/>
          </a:p>
          <a:p>
            <a:r>
              <a:rPr lang="ja-JP" altLang="en-US"/>
              <a:t>参考ドキュメント（</a:t>
            </a:r>
            <a:r>
              <a:rPr lang="en-US" altLang="ja-JP"/>
              <a:t>Microsoft</a:t>
            </a:r>
            <a:r>
              <a:rPr lang="ja-JP" altLang="en-US"/>
              <a:t>公式リンク）</a:t>
            </a:r>
            <a:endParaRPr lang="en-US" altLang="ja-JP"/>
          </a:p>
          <a:p>
            <a:r>
              <a:rPr lang="ja-JP" altLang="en-US"/>
              <a:t>サンプル画面イメージなど</a:t>
            </a:r>
            <a:endParaRPr lang="en-US" altLang="ja-JP"/>
          </a:p>
          <a:p>
            <a:r>
              <a:rPr lang="zh-CN" altLang="en-US"/>
              <a:t>性能设计之外， 额外明确性能测定， </a:t>
            </a:r>
            <a:r>
              <a:rPr lang="en-US" altLang="zh-CN"/>
              <a:t>Sizing</a:t>
            </a:r>
            <a:r>
              <a:rPr lang="zh-CN" altLang="en-US"/>
              <a:t>， </a:t>
            </a:r>
            <a:r>
              <a:rPr lang="en-US" altLang="zh-CN"/>
              <a:t>Tunning </a:t>
            </a:r>
            <a:r>
              <a:rPr lang="zh-CN" altLang="en-US"/>
              <a:t>等工程及期间， 费用</a:t>
            </a:r>
            <a:endParaRPr lang="ja-JP" altLang="en-US"/>
          </a:p>
          <a:p>
            <a:endParaRPr lang="zh-CN"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a:t>提案（</a:t>
            </a:r>
            <a:r>
              <a:rPr kumimoji="1" lang="en-US" altLang="ja-JP"/>
              <a:t>File</a:t>
            </a:r>
            <a:r>
              <a:rPr kumimoji="1" lang="ja-JP" altLang="en-US"/>
              <a:t>を</a:t>
            </a:r>
            <a:r>
              <a:rPr kumimoji="1" lang="en-US" altLang="ja-JP"/>
              <a:t>Dataverse</a:t>
            </a:r>
            <a:r>
              <a:rPr kumimoji="1" lang="ja-JP" altLang="en-US"/>
              <a:t> に</a:t>
            </a:r>
            <a:r>
              <a:rPr kumimoji="1" lang="en-US" altLang="ja-JP" err="1"/>
              <a:t>Storeage</a:t>
            </a:r>
            <a:r>
              <a:rPr kumimoji="1" lang="ja-JP" altLang="en-US"/>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3052245"/>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2966600"/>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4565120"/>
            <a:ext cx="967648" cy="945876"/>
          </a:xfrm>
          <a:prstGeom prst="rect">
            <a:avLst/>
          </a:prstGeom>
        </p:spPr>
      </p:pic>
      <p:sp>
        <p:nvSpPr>
          <p:cNvPr id="16" name="テキスト ボックス 15"/>
          <p:cNvSpPr txBox="1"/>
          <p:nvPr/>
        </p:nvSpPr>
        <p:spPr>
          <a:xfrm>
            <a:off x="491390" y="3974498"/>
            <a:ext cx="1223264" cy="523220"/>
          </a:xfrm>
          <a:prstGeom prst="rect">
            <a:avLst/>
          </a:prstGeom>
          <a:noFill/>
        </p:spPr>
        <p:txBody>
          <a:bodyPr wrap="square" rtlCol="0">
            <a:spAutoFit/>
          </a:bodyPr>
          <a:lstStyle/>
          <a:p>
            <a:pPr algn="ctr"/>
            <a:r>
              <a:rPr kumimoji="1" lang="ja-JP" altLang="en-US" sz="1400"/>
              <a:t>入力手段</a:t>
            </a:r>
            <a:endParaRPr kumimoji="1" lang="en-US" altLang="ja-JP" sz="1400"/>
          </a:p>
          <a:p>
            <a:pPr algn="ctr"/>
            <a:r>
              <a:rPr kumimoji="1" lang="en-US" altLang="ja-JP" sz="1400"/>
              <a:t>UI</a:t>
            </a:r>
            <a:r>
              <a:rPr kumimoji="1" lang="ja-JP" altLang="en-US" sz="1400"/>
              <a:t>閲覧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6"/>
          <a:stretch>
            <a:fillRect/>
          </a:stretch>
        </p:blipFill>
        <p:spPr>
          <a:xfrm>
            <a:off x="5692519" y="1076158"/>
            <a:ext cx="2139144" cy="1262554"/>
          </a:xfrm>
          <a:prstGeom prst="rect">
            <a:avLst/>
          </a:prstGeom>
        </p:spPr>
      </p:pic>
      <p:cxnSp>
        <p:nvCxnSpPr>
          <p:cNvPr id="31" name="コネクタ: カギ線 30"/>
          <p:cNvCxnSpPr>
            <a:stCxn id="5" idx="0"/>
            <a:endCxn id="4" idx="1"/>
          </p:cNvCxnSpPr>
          <p:nvPr/>
        </p:nvCxnSpPr>
        <p:spPr>
          <a:xfrm rot="5400000" flipH="1" flipV="1">
            <a:off x="2324120" y="255539"/>
            <a:ext cx="1623958" cy="3969454"/>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79372" y="5696876"/>
            <a:ext cx="1112228" cy="276999"/>
          </a:xfrm>
          <a:prstGeom prst="rect">
            <a:avLst/>
          </a:prstGeom>
          <a:noFill/>
        </p:spPr>
        <p:txBody>
          <a:bodyPr wrap="square" rtlCol="0">
            <a:spAutoFit/>
          </a:bodyPr>
          <a:lstStyle/>
          <a:p>
            <a:pPr algn="ctr"/>
            <a:r>
              <a:rPr lang="en-US" altLang="ja-JP" sz="1200"/>
              <a:t>Share Point</a:t>
            </a:r>
            <a:endParaRPr kumimoji="1" lang="ja-JP" altLang="en-US" sz="1200"/>
          </a:p>
        </p:txBody>
      </p:sp>
      <p:sp>
        <p:nvSpPr>
          <p:cNvPr id="34" name="ひし形 33"/>
          <p:cNvSpPr/>
          <p:nvPr/>
        </p:nvSpPr>
        <p:spPr>
          <a:xfrm>
            <a:off x="5322233" y="19928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7" name="コネクタ: カギ線 36"/>
          <p:cNvCxnSpPr>
            <a:stCxn id="15" idx="0"/>
            <a:endCxn id="34" idx="1"/>
          </p:cNvCxnSpPr>
          <p:nvPr/>
        </p:nvCxnSpPr>
        <p:spPr>
          <a:xfrm rot="5400000" flipH="1" flipV="1">
            <a:off x="3068132" y="793431"/>
            <a:ext cx="1020471" cy="3487731"/>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1245770"/>
            <a:ext cx="1444250" cy="461665"/>
          </a:xfrm>
          <a:prstGeom prst="rect">
            <a:avLst/>
          </a:prstGeom>
          <a:noFill/>
        </p:spPr>
        <p:txBody>
          <a:bodyPr wrap="square" rtlCol="0">
            <a:spAutoFit/>
          </a:bodyPr>
          <a:lstStyle/>
          <a:p>
            <a:pPr algn="ctr"/>
            <a:r>
              <a:rPr kumimoji="1" lang="ja-JP" altLang="en-US" sz="1200"/>
              <a:t>定型データの</a:t>
            </a:r>
            <a:endParaRPr kumimoji="1" lang="en-US" altLang="ja-JP" sz="1200"/>
          </a:p>
          <a:p>
            <a:pPr algn="ctr"/>
            <a:r>
              <a:rPr kumimoji="1" lang="ja-JP" altLang="en-US" sz="1200"/>
              <a:t>取得、表示、更新</a:t>
            </a:r>
          </a:p>
        </p:txBody>
      </p:sp>
      <p:sp>
        <p:nvSpPr>
          <p:cNvPr id="42" name="ひし形 41"/>
          <p:cNvSpPr/>
          <p:nvPr/>
        </p:nvSpPr>
        <p:spPr>
          <a:xfrm>
            <a:off x="1965864" y="3609669"/>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44" name="テキスト ボックス 43"/>
          <p:cNvSpPr txBox="1"/>
          <p:nvPr/>
        </p:nvSpPr>
        <p:spPr>
          <a:xfrm rot="5400000">
            <a:off x="1595545" y="2518207"/>
            <a:ext cx="1071315" cy="461665"/>
          </a:xfrm>
          <a:prstGeom prst="rect">
            <a:avLst/>
          </a:prstGeom>
          <a:noFill/>
        </p:spPr>
        <p:txBody>
          <a:bodyPr wrap="square" rtlCol="0">
            <a:spAutoFit/>
          </a:bodyPr>
          <a:lstStyle/>
          <a:p>
            <a:pPr algn="ctr"/>
            <a:r>
              <a:rPr kumimoji="1" lang="ja-JP" altLang="en-US" sz="1200"/>
              <a:t>ファイル</a:t>
            </a:r>
            <a:endParaRPr kumimoji="1" lang="en-US" altLang="ja-JP" sz="1200"/>
          </a:p>
          <a:p>
            <a:pPr algn="ctr"/>
            <a:r>
              <a:rPr kumimoji="1" lang="ja-JP" altLang="en-US" sz="1200"/>
              <a:t>取得、表示</a:t>
            </a:r>
          </a:p>
        </p:txBody>
      </p:sp>
      <p:cxnSp>
        <p:nvCxnSpPr>
          <p:cNvPr id="45" name="コネクタ: カギ線 44"/>
          <p:cNvCxnSpPr>
            <a:stCxn id="48" idx="1"/>
            <a:endCxn id="5" idx="3"/>
          </p:cNvCxnSpPr>
          <p:nvPr/>
        </p:nvCxnSpPr>
        <p:spPr>
          <a:xfrm rot="10800000" flipV="1">
            <a:off x="1986793" y="2243622"/>
            <a:ext cx="3335441" cy="128898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2209423"/>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1" name="テキスト ボックス 50"/>
          <p:cNvSpPr txBox="1"/>
          <p:nvPr/>
        </p:nvSpPr>
        <p:spPr>
          <a:xfrm rot="5400000">
            <a:off x="3205500" y="2902138"/>
            <a:ext cx="1444250" cy="461665"/>
          </a:xfrm>
          <a:prstGeom prst="rect">
            <a:avLst/>
          </a:prstGeom>
          <a:noFill/>
        </p:spPr>
        <p:txBody>
          <a:bodyPr wrap="square" rtlCol="0">
            <a:spAutoFit/>
          </a:bodyPr>
          <a:lstStyle/>
          <a:p>
            <a:pPr algn="ctr"/>
            <a:r>
              <a:rPr kumimoji="1" lang="ja-JP" altLang="en-US" sz="1200">
                <a:solidFill>
                  <a:srgbClr val="FF0000"/>
                </a:solidFill>
              </a:rPr>
              <a:t>ファイル編集</a:t>
            </a:r>
            <a:endParaRPr kumimoji="1" lang="en-US" altLang="ja-JP" sz="1200">
              <a:solidFill>
                <a:srgbClr val="FF0000"/>
              </a:solidFill>
            </a:endParaRPr>
          </a:p>
          <a:p>
            <a:pPr algn="ctr"/>
            <a:r>
              <a:rPr kumimoji="1" lang="ja-JP" altLang="en-US" sz="1200">
                <a:solidFill>
                  <a:srgbClr val="FF0000"/>
                </a:solidFill>
              </a:rPr>
              <a:t>リクエスト　①</a:t>
            </a:r>
          </a:p>
        </p:txBody>
      </p:sp>
      <p:cxnSp>
        <p:nvCxnSpPr>
          <p:cNvPr id="52" name="コネクタ: カギ線 51"/>
          <p:cNvCxnSpPr>
            <a:stCxn id="7" idx="3"/>
            <a:endCxn id="96" idx="3"/>
          </p:cNvCxnSpPr>
          <p:nvPr/>
        </p:nvCxnSpPr>
        <p:spPr>
          <a:xfrm flipV="1">
            <a:off x="6885235" y="1957546"/>
            <a:ext cx="974382" cy="308051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4056225"/>
            <a:ext cx="1444250" cy="461665"/>
          </a:xfrm>
          <a:prstGeom prst="rect">
            <a:avLst/>
          </a:prstGeom>
          <a:noFill/>
        </p:spPr>
        <p:txBody>
          <a:bodyPr wrap="square" rtlCol="0">
            <a:spAutoFit/>
          </a:bodyPr>
          <a:lstStyle/>
          <a:p>
            <a:pPr algn="ctr"/>
            <a:r>
              <a:rPr kumimoji="1" lang="ja-JP" altLang="en-US" sz="1200">
                <a:solidFill>
                  <a:srgbClr val="FF0000"/>
                </a:solidFill>
              </a:rPr>
              <a:t>ファイルを</a:t>
            </a:r>
            <a:r>
              <a:rPr kumimoji="1" lang="en-US" altLang="ja-JP" sz="1200">
                <a:solidFill>
                  <a:srgbClr val="FF0000"/>
                </a:solidFill>
              </a:rPr>
              <a:t>SPO</a:t>
            </a:r>
            <a:r>
              <a:rPr kumimoji="1" lang="ja-JP" altLang="en-US" sz="1200">
                <a:solidFill>
                  <a:srgbClr val="FF0000"/>
                </a:solidFill>
              </a:rPr>
              <a:t>にダウンロード②</a:t>
            </a:r>
          </a:p>
        </p:txBody>
      </p:sp>
      <p:pic>
        <p:nvPicPr>
          <p:cNvPr id="58" name="図 57" descr="グラフィカル ユーザー インターフェイス, アプリケーション, テーブル, Excel"/>
          <p:cNvPicPr>
            <a:picLocks noChangeAspect="1"/>
          </p:cNvPicPr>
          <p:nvPr/>
        </p:nvPicPr>
        <p:blipFill>
          <a:blip r:embed="rId7"/>
          <a:stretch>
            <a:fillRect/>
          </a:stretch>
        </p:blipFill>
        <p:spPr>
          <a:xfrm>
            <a:off x="296107" y="4523042"/>
            <a:ext cx="2086032" cy="1030032"/>
          </a:xfrm>
          <a:prstGeom prst="rect">
            <a:avLst/>
          </a:prstGeom>
        </p:spPr>
      </p:pic>
      <p:cxnSp>
        <p:nvCxnSpPr>
          <p:cNvPr id="61" name="直線矢印コネクタ 60"/>
          <p:cNvCxnSpPr>
            <a:endCxn id="7" idx="1"/>
          </p:cNvCxnSpPr>
          <p:nvPr/>
        </p:nvCxnSpPr>
        <p:spPr>
          <a:xfrm flipV="1">
            <a:off x="2382139" y="5038058"/>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493973" y="4781290"/>
            <a:ext cx="1444250" cy="276999"/>
          </a:xfrm>
          <a:prstGeom prst="rect">
            <a:avLst/>
          </a:prstGeom>
          <a:noFill/>
        </p:spPr>
        <p:txBody>
          <a:bodyPr wrap="square" rtlCol="0">
            <a:spAutoFit/>
          </a:bodyPr>
          <a:lstStyle/>
          <a:p>
            <a:pPr algn="ctr"/>
            <a:r>
              <a:rPr lang="ja-JP" altLang="en-US" sz="1200">
                <a:solidFill>
                  <a:srgbClr val="FF0000"/>
                </a:solidFill>
              </a:rPr>
              <a:t>ファイル編集③</a:t>
            </a:r>
            <a:endParaRPr kumimoji="1" lang="ja-JP" altLang="en-US" sz="1200">
              <a:solidFill>
                <a:srgbClr val="FF0000"/>
              </a:solidFill>
            </a:endParaRPr>
          </a:p>
        </p:txBody>
      </p:sp>
      <p:cxnSp>
        <p:nvCxnSpPr>
          <p:cNvPr id="67" name="直線矢印コネクタ 66"/>
          <p:cNvCxnSpPr>
            <a:stCxn id="6" idx="2"/>
            <a:endCxn id="7" idx="0"/>
          </p:cNvCxnSpPr>
          <p:nvPr/>
        </p:nvCxnSpPr>
        <p:spPr>
          <a:xfrm flipH="1">
            <a:off x="6401411" y="3752751"/>
            <a:ext cx="1" cy="81236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3836606"/>
            <a:ext cx="2714948" cy="1031051"/>
          </a:xfrm>
          <a:prstGeom prst="rect">
            <a:avLst/>
          </a:prstGeom>
          <a:noFill/>
        </p:spPr>
        <p:txBody>
          <a:bodyPr wrap="square" rtlCol="0">
            <a:spAutoFit/>
          </a:bodyPr>
          <a:lstStyle/>
          <a:p>
            <a:pPr algn="ctr"/>
            <a:r>
              <a:rPr lang="ja-JP" altLang="en-US" sz="1200">
                <a:solidFill>
                  <a:srgbClr val="FF0000"/>
                </a:solidFill>
              </a:rPr>
              <a:t>ファイル変更イベント捕捉　④</a:t>
            </a:r>
          </a:p>
          <a:p>
            <a:pPr algn="ctr"/>
            <a:endParaRPr lang="en-US" altLang="ja-JP" sz="700">
              <a:solidFill>
                <a:srgbClr val="FF0000"/>
              </a:solidFill>
            </a:endParaRPr>
          </a:p>
          <a:p>
            <a:pPr algn="ctr"/>
            <a:r>
              <a:rPr lang="en-US" altLang="ja-JP" sz="800">
                <a:solidFill>
                  <a:srgbClr val="FF0000"/>
                </a:solidFill>
              </a:rPr>
              <a:t>SharePoint - </a:t>
            </a:r>
            <a:r>
              <a:rPr lang="ja-JP" altLang="en-US" sz="800">
                <a:solidFill>
                  <a:srgbClr val="FF0000"/>
                </a:solidFill>
              </a:rPr>
              <a:t>ファイルが作成または変更されたとき</a:t>
            </a:r>
            <a:endParaRPr lang="en-US" altLang="ja-JP" sz="800">
              <a:solidFill>
                <a:srgbClr val="FF0000"/>
              </a:solidFill>
            </a:endParaRPr>
          </a:p>
          <a:p>
            <a:pPr algn="ctr"/>
            <a:r>
              <a:rPr lang="ja-JP" altLang="en-US" sz="800">
                <a:solidFill>
                  <a:srgbClr val="FF0000"/>
                </a:solidFill>
              </a:rPr>
              <a:t>「</a:t>
            </a:r>
            <a:r>
              <a:rPr lang="en-US" altLang="ja-JP" sz="800">
                <a:solidFill>
                  <a:srgbClr val="FF0000"/>
                </a:solidFill>
              </a:rPr>
              <a:t>SharePoint - </a:t>
            </a:r>
            <a:r>
              <a:rPr lang="ja-JP" altLang="en-US" sz="800">
                <a:solidFill>
                  <a:srgbClr val="FF0000"/>
                </a:solidFill>
              </a:rPr>
              <a:t>アイテムが作成または変更されたとき」</a:t>
            </a:r>
            <a:endParaRPr lang="en-US" altLang="ja-JP" sz="800">
              <a:solidFill>
                <a:srgbClr val="FF0000"/>
              </a:solidFill>
            </a:endParaRPr>
          </a:p>
          <a:p>
            <a:pPr algn="ctr"/>
            <a:endParaRPr lang="ja-JP" altLang="en-US" sz="800">
              <a:solidFill>
                <a:srgbClr val="FF0000"/>
              </a:solidFill>
            </a:endParaRPr>
          </a:p>
          <a:p>
            <a:pPr algn="ctr"/>
            <a:endParaRPr lang="ja-JP" altLang="en-US" sz="900">
              <a:solidFill>
                <a:srgbClr val="FF0000"/>
              </a:solidFill>
            </a:endParaRPr>
          </a:p>
          <a:p>
            <a:pPr algn="ctr"/>
            <a:endParaRPr kumimoji="1" lang="ja-JP" altLang="en-US" sz="90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513316" y="5263830"/>
            <a:ext cx="911875" cy="786151"/>
          </a:xfrm>
          <a:prstGeom prst="rect">
            <a:avLst/>
          </a:prstGeom>
        </p:spPr>
      </p:pic>
      <p:sp>
        <p:nvSpPr>
          <p:cNvPr id="77" name="テキスト ボックス 76"/>
          <p:cNvSpPr txBox="1"/>
          <p:nvPr/>
        </p:nvSpPr>
        <p:spPr>
          <a:xfrm>
            <a:off x="2487363" y="5879247"/>
            <a:ext cx="2269922" cy="584775"/>
          </a:xfrm>
          <a:prstGeom prst="rect">
            <a:avLst/>
          </a:prstGeom>
          <a:noFill/>
        </p:spPr>
        <p:txBody>
          <a:bodyPr wrap="square" rtlCol="0">
            <a:spAutoFit/>
          </a:bodyPr>
          <a:lstStyle/>
          <a:p>
            <a:r>
              <a:rPr lang="ja-JP" altLang="en-US" sz="1100"/>
              <a:t>定期</a:t>
            </a:r>
            <a:r>
              <a:rPr lang="en-US" altLang="ja-JP" sz="1100"/>
              <a:t>Clean</a:t>
            </a:r>
            <a:r>
              <a:rPr lang="ja-JP" altLang="en-US" sz="1100"/>
              <a:t>処理</a:t>
            </a:r>
            <a:endParaRPr lang="en-US" altLang="ja-JP" sz="1100"/>
          </a:p>
          <a:p>
            <a:r>
              <a:rPr lang="ja-JP" altLang="en-US" sz="700">
                <a:solidFill>
                  <a:srgbClr val="FF0000"/>
                </a:solidFill>
              </a:rPr>
              <a:t>「ファイルの閉じる」が捕捉できないため、定期的に、＋</a:t>
            </a:r>
            <a:r>
              <a:rPr lang="en-US" altLang="ja-JP" sz="700">
                <a:solidFill>
                  <a:srgbClr val="FF0000"/>
                </a:solidFill>
              </a:rPr>
              <a:t>N</a:t>
            </a:r>
            <a:r>
              <a:rPr lang="ja-JP" altLang="en-US" sz="700">
                <a:solidFill>
                  <a:srgbClr val="FF0000"/>
                </a:solidFill>
              </a:rPr>
              <a:t>日以上編集なしのファイルを</a:t>
            </a:r>
            <a:r>
              <a:rPr lang="en-US" altLang="ja-JP" sz="700">
                <a:solidFill>
                  <a:srgbClr val="FF0000"/>
                </a:solidFill>
              </a:rPr>
              <a:t>Clean</a:t>
            </a:r>
            <a:r>
              <a:rPr lang="ja-JP" altLang="en-US" sz="700">
                <a:solidFill>
                  <a:srgbClr val="FF0000"/>
                </a:solidFill>
              </a:rPr>
              <a:t>する</a:t>
            </a:r>
          </a:p>
          <a:p>
            <a:endParaRPr lang="en-US" altLang="ja-JP" sz="700"/>
          </a:p>
        </p:txBody>
      </p:sp>
      <p:cxnSp>
        <p:nvCxnSpPr>
          <p:cNvPr id="83" name="直線矢印コネクタ 82"/>
          <p:cNvCxnSpPr>
            <a:stCxn id="26" idx="2"/>
            <a:endCxn id="6" idx="0"/>
          </p:cNvCxnSpPr>
          <p:nvPr/>
        </p:nvCxnSpPr>
        <p:spPr>
          <a:xfrm>
            <a:off x="6400615" y="2383960"/>
            <a:ext cx="797" cy="582640"/>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98219" y="2493392"/>
            <a:ext cx="2714948" cy="738664"/>
          </a:xfrm>
          <a:prstGeom prst="rect">
            <a:avLst/>
          </a:prstGeom>
          <a:noFill/>
        </p:spPr>
        <p:txBody>
          <a:bodyPr wrap="square" rtlCol="0">
            <a:spAutoFit/>
          </a:bodyPr>
          <a:lstStyle/>
          <a:p>
            <a:pPr algn="ctr"/>
            <a:r>
              <a:rPr lang="en-US" altLang="ja-JP" sz="1200">
                <a:solidFill>
                  <a:srgbClr val="FF0000"/>
                </a:solidFill>
              </a:rPr>
              <a:t>SPO</a:t>
            </a:r>
            <a:r>
              <a:rPr lang="ja-JP" altLang="en-US" sz="1200">
                <a:solidFill>
                  <a:srgbClr val="FF0000"/>
                </a:solidFill>
              </a:rPr>
              <a:t>の変更さらた内容を</a:t>
            </a:r>
            <a:endParaRPr lang="en-US" altLang="ja-JP" sz="1200">
              <a:solidFill>
                <a:srgbClr val="FF0000"/>
              </a:solidFill>
            </a:endParaRPr>
          </a:p>
          <a:p>
            <a:pPr algn="ctr"/>
            <a:r>
              <a:rPr lang="en-US" altLang="ja-JP" sz="1200">
                <a:solidFill>
                  <a:srgbClr val="FF0000"/>
                </a:solidFill>
              </a:rPr>
              <a:t>Dataverse</a:t>
            </a:r>
            <a:r>
              <a:rPr lang="ja-JP" altLang="en-US" sz="1200">
                <a:solidFill>
                  <a:srgbClr val="FF0000"/>
                </a:solidFill>
              </a:rPr>
              <a:t>へ更新 ⑤</a:t>
            </a:r>
          </a:p>
          <a:p>
            <a:pPr algn="ctr"/>
            <a:endParaRPr lang="ja-JP" altLang="en-US" sz="900">
              <a:solidFill>
                <a:srgbClr val="FF0000"/>
              </a:solidFill>
            </a:endParaRPr>
          </a:p>
          <a:p>
            <a:pPr algn="ctr"/>
            <a:endParaRPr kumimoji="1" lang="ja-JP" altLang="en-US" sz="900">
              <a:solidFill>
                <a:srgbClr val="FF0000"/>
              </a:solidFill>
            </a:endParaRPr>
          </a:p>
        </p:txBody>
      </p:sp>
      <p:pic>
        <p:nvPicPr>
          <p:cNvPr id="87" name="グラフィックス 86"/>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35963" y="5328418"/>
            <a:ext cx="354706" cy="340784"/>
          </a:xfrm>
          <a:prstGeom prst="rect">
            <a:avLst/>
          </a:prstGeom>
        </p:spPr>
      </p:pic>
      <p:sp>
        <p:nvSpPr>
          <p:cNvPr id="96" name="ひし形 95"/>
          <p:cNvSpPr/>
          <p:nvPr/>
        </p:nvSpPr>
        <p:spPr>
          <a:xfrm>
            <a:off x="7789875" y="192334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08" name="ひし形 107"/>
          <p:cNvSpPr/>
          <p:nvPr/>
        </p:nvSpPr>
        <p:spPr>
          <a:xfrm>
            <a:off x="1942622" y="42769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20" name="ひし形 119"/>
          <p:cNvSpPr/>
          <p:nvPr/>
        </p:nvSpPr>
        <p:spPr>
          <a:xfrm>
            <a:off x="1942622" y="44293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21" name="ひし形 120"/>
          <p:cNvSpPr/>
          <p:nvPr/>
        </p:nvSpPr>
        <p:spPr>
          <a:xfrm>
            <a:off x="3587453" y="48103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3" name="テキスト ボックス 2"/>
          <p:cNvSpPr txBox="1"/>
          <p:nvPr/>
        </p:nvSpPr>
        <p:spPr>
          <a:xfrm>
            <a:off x="585867" y="5541639"/>
            <a:ext cx="1473268" cy="307777"/>
          </a:xfrm>
          <a:prstGeom prst="rect">
            <a:avLst/>
          </a:prstGeom>
          <a:noFill/>
        </p:spPr>
        <p:txBody>
          <a:bodyPr wrap="square" rtlCol="0">
            <a:spAutoFit/>
          </a:bodyPr>
          <a:lstStyle/>
          <a:p>
            <a:pPr algn="ctr"/>
            <a:r>
              <a:rPr kumimoji="1" lang="en-US" altLang="ja-JP" sz="1400"/>
              <a:t>Office 365 App</a:t>
            </a:r>
            <a:endParaRPr kumimoji="1" lang="ja-JP" altLang="en-US" sz="140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a:t>平行編集：</a:t>
            </a:r>
          </a:p>
          <a:p>
            <a:r>
              <a:rPr lang="ja-JP" altLang="en-US" sz="1100"/>
              <a:t>１．同じユーザは複数回同じ文書を開く場合、（連打）　　ー　App設計・実装に考慮要</a:t>
            </a:r>
          </a:p>
          <a:p>
            <a:r>
              <a:rPr lang="ja-JP" altLang="en-US" sz="1100"/>
              <a:t>２．異なるユーザは同じ文書を同時に編集すること　　ー　当面不要だと聞いたが、必要としたら、実現できる。</a:t>
            </a:r>
          </a:p>
          <a:p>
            <a:r>
              <a:rPr lang="ja-JP" altLang="en-US" sz="1100"/>
              <a:t>３．Power AutomationのFlowの異常処理 </a:t>
            </a:r>
            <a:r>
              <a:rPr lang="en-US" altLang="ja-JP" sz="1100"/>
              <a:t>(</a:t>
            </a:r>
            <a:r>
              <a:rPr lang="ja-JP" altLang="en-US" sz="1100"/>
              <a:t>利用者の本人に送信したい</a:t>
            </a:r>
            <a:r>
              <a:rPr lang="en-US" altLang="ja-JP" sz="1100"/>
              <a:t>)</a:t>
            </a:r>
          </a:p>
          <a:p>
            <a:r>
              <a:rPr lang="ja-JP" altLang="en-US" sz="1100"/>
              <a:t>４．ファイルの自動保存（</a:t>
            </a:r>
            <a:r>
              <a:rPr lang="en-US" altLang="ja-JP" sz="1100" err="1"/>
              <a:t>LocalApp</a:t>
            </a:r>
            <a:r>
              <a:rPr lang="ja-JP" altLang="en-US" sz="1100"/>
              <a:t>で開いた場合）の設定</a:t>
            </a:r>
            <a:r>
              <a:rPr lang="en-US" altLang="ja-JP" sz="1100"/>
              <a:t>Manual</a:t>
            </a:r>
            <a:r>
              <a:rPr lang="ja-JP" altLang="en-US" sz="110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2815351" y="2590723"/>
            <a:ext cx="911875" cy="786151"/>
          </a:xfrm>
          <a:prstGeom prst="rect">
            <a:avLst/>
          </a:prstGeom>
        </p:spPr>
      </p:pic>
      <p:pic>
        <p:nvPicPr>
          <p:cNvPr id="4" name="図 3"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5120826" y="1151331"/>
            <a:ext cx="687029" cy="553912"/>
          </a:xfrm>
          <a:prstGeom prst="rect">
            <a:avLst/>
          </a:prstGeom>
        </p:spPr>
      </p:pic>
      <p:sp>
        <p:nvSpPr>
          <p:cNvPr id="11" name="テキスト ボックス 10"/>
          <p:cNvSpPr txBox="1"/>
          <p:nvPr/>
        </p:nvSpPr>
        <p:spPr>
          <a:xfrm>
            <a:off x="4774700" y="1633401"/>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a:t>定型データ</a:t>
            </a:r>
            <a:endParaRPr kumimoji="1" lang="en-US" altLang="ja-JP" sz="1050"/>
          </a:p>
          <a:p>
            <a:pPr algn="ctr"/>
            <a:r>
              <a:rPr kumimoji="1" lang="ja-JP" altLang="en-US" sz="1050"/>
              <a:t>保存場所</a:t>
            </a:r>
          </a:p>
        </p:txBody>
      </p:sp>
      <p:sp>
        <p:nvSpPr>
          <p:cNvPr id="14" name="テキスト ボックス 13"/>
          <p:cNvSpPr txBox="1"/>
          <p:nvPr/>
        </p:nvSpPr>
        <p:spPr>
          <a:xfrm>
            <a:off x="6153981" y="963646"/>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a:t>添付ファイル</a:t>
            </a:r>
            <a:endParaRPr kumimoji="1" lang="en-US" altLang="ja-JP" sz="1050"/>
          </a:p>
          <a:p>
            <a:pPr algn="ctr"/>
            <a:r>
              <a:rPr kumimoji="1" lang="ja-JP" altLang="en-US" sz="1050"/>
              <a:t>保存場所</a:t>
            </a:r>
          </a:p>
        </p:txBody>
      </p:sp>
      <p:sp>
        <p:nvSpPr>
          <p:cNvPr id="15" name="ひし形 14"/>
          <p:cNvSpPr/>
          <p:nvPr/>
        </p:nvSpPr>
        <p:spPr>
          <a:xfrm>
            <a:off x="1799631" y="30475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23" name="コネクタ: カギ線 22"/>
          <p:cNvCxnSpPr>
            <a:stCxn id="76" idx="3"/>
            <a:endCxn id="7" idx="2"/>
          </p:cNvCxnSpPr>
          <p:nvPr/>
        </p:nvCxnSpPr>
        <p:spPr>
          <a:xfrm flipV="1">
            <a:off x="4425191" y="5510996"/>
            <a:ext cx="1976220" cy="14591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ひし形 25"/>
          <p:cNvSpPr/>
          <p:nvPr/>
        </p:nvSpPr>
        <p:spPr>
          <a:xfrm>
            <a:off x="6365744" y="23155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a:t>提案（</a:t>
            </a:r>
            <a:r>
              <a:rPr kumimoji="1" lang="en-US" altLang="ja-JP"/>
              <a:t>File</a:t>
            </a:r>
            <a:r>
              <a:rPr kumimoji="1" lang="ja-JP" altLang="en-US"/>
              <a:t>を</a:t>
            </a:r>
            <a:r>
              <a:rPr kumimoji="1" lang="en-US" altLang="ja-JP"/>
              <a:t>SPO</a:t>
            </a:r>
            <a:r>
              <a:rPr kumimoji="1" lang="ja-JP" altLang="en-US"/>
              <a:t>に保存）</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86512" y="3907717"/>
            <a:ext cx="1670840" cy="960733"/>
          </a:xfrm>
        </p:spPr>
      </p:pic>
      <p:sp>
        <p:nvSpPr>
          <p:cNvPr id="16" name="テキスト ボックス 15"/>
          <p:cNvSpPr txBox="1"/>
          <p:nvPr/>
        </p:nvSpPr>
        <p:spPr>
          <a:xfrm>
            <a:off x="1183416" y="4863915"/>
            <a:ext cx="1223264" cy="523220"/>
          </a:xfrm>
          <a:prstGeom prst="rect">
            <a:avLst/>
          </a:prstGeom>
          <a:noFill/>
        </p:spPr>
        <p:txBody>
          <a:bodyPr wrap="square" rtlCol="0">
            <a:spAutoFit/>
          </a:bodyPr>
          <a:lstStyle/>
          <a:p>
            <a:pPr algn="ctr"/>
            <a:r>
              <a:rPr kumimoji="1" lang="ja-JP" altLang="en-US" sz="1400"/>
              <a:t>入力手段</a:t>
            </a:r>
            <a:endParaRPr kumimoji="1" lang="en-US" altLang="ja-JP" sz="1400"/>
          </a:p>
          <a:p>
            <a:pPr algn="ctr"/>
            <a:r>
              <a:rPr kumimoji="1" lang="en-US" altLang="ja-JP" sz="1400"/>
              <a:t>UI</a:t>
            </a:r>
            <a:r>
              <a:rPr kumimoji="1" lang="ja-JP" altLang="en-US" sz="1400"/>
              <a:t>閲覧系</a:t>
            </a:r>
          </a:p>
        </p:txBody>
      </p:sp>
      <p:cxnSp>
        <p:nvCxnSpPr>
          <p:cNvPr id="31" name="コネクタ: カギ線 30"/>
          <p:cNvCxnSpPr>
            <a:stCxn id="5" idx="0"/>
          </p:cNvCxnSpPr>
          <p:nvPr/>
        </p:nvCxnSpPr>
        <p:spPr>
          <a:xfrm rot="5400000" flipH="1" flipV="1">
            <a:off x="2985381" y="810458"/>
            <a:ext cx="1933810" cy="4260709"/>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ひし形 33"/>
          <p:cNvSpPr/>
          <p:nvPr/>
        </p:nvSpPr>
        <p:spPr>
          <a:xfrm>
            <a:off x="5992793" y="237081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7" name="コネクタ: カギ線 36"/>
          <p:cNvCxnSpPr>
            <a:stCxn id="42" idx="0"/>
            <a:endCxn id="34" idx="1"/>
          </p:cNvCxnSpPr>
          <p:nvPr/>
        </p:nvCxnSpPr>
        <p:spPr>
          <a:xfrm rot="5400000" flipH="1" flipV="1">
            <a:off x="3548554" y="141307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690196" y="1623722"/>
            <a:ext cx="1444250" cy="461665"/>
          </a:xfrm>
          <a:prstGeom prst="rect">
            <a:avLst/>
          </a:prstGeom>
          <a:noFill/>
        </p:spPr>
        <p:txBody>
          <a:bodyPr wrap="square" rtlCol="0">
            <a:spAutoFit/>
          </a:bodyPr>
          <a:lstStyle/>
          <a:p>
            <a:pPr algn="ctr"/>
            <a:r>
              <a:rPr kumimoji="1" lang="ja-JP" altLang="en-US" sz="1200"/>
              <a:t>定型データの</a:t>
            </a:r>
            <a:endParaRPr kumimoji="1" lang="en-US" altLang="ja-JP" sz="1200"/>
          </a:p>
          <a:p>
            <a:pPr algn="ctr"/>
            <a:r>
              <a:rPr kumimoji="1" lang="ja-JP" altLang="en-US" sz="1200"/>
              <a:t>取得、表示、更新</a:t>
            </a:r>
          </a:p>
        </p:txBody>
      </p:sp>
      <p:sp>
        <p:nvSpPr>
          <p:cNvPr id="42" name="ひし形 41"/>
          <p:cNvSpPr/>
          <p:nvPr/>
        </p:nvSpPr>
        <p:spPr>
          <a:xfrm>
            <a:off x="2521742" y="385731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44" name="テキスト ボックス 43"/>
          <p:cNvSpPr txBox="1"/>
          <p:nvPr/>
        </p:nvSpPr>
        <p:spPr>
          <a:xfrm rot="5400000">
            <a:off x="2266105" y="2896159"/>
            <a:ext cx="1071315" cy="461665"/>
          </a:xfrm>
          <a:prstGeom prst="rect">
            <a:avLst/>
          </a:prstGeom>
          <a:noFill/>
        </p:spPr>
        <p:txBody>
          <a:bodyPr wrap="square" rtlCol="0">
            <a:spAutoFit/>
          </a:bodyPr>
          <a:lstStyle/>
          <a:p>
            <a:pPr algn="ctr"/>
            <a:r>
              <a:rPr kumimoji="1" lang="ja-JP" altLang="en-US" sz="1200"/>
              <a:t>ファイル</a:t>
            </a:r>
            <a:endParaRPr kumimoji="1" lang="en-US" altLang="ja-JP" sz="1200"/>
          </a:p>
          <a:p>
            <a:pPr algn="ctr"/>
            <a:r>
              <a:rPr kumimoji="1" lang="ja-JP" altLang="en-US" sz="1200"/>
              <a:t>取得、表示</a:t>
            </a:r>
          </a:p>
        </p:txBody>
      </p:sp>
      <p:cxnSp>
        <p:nvCxnSpPr>
          <p:cNvPr id="45" name="コネクタ: カギ線 44"/>
          <p:cNvCxnSpPr>
            <a:stCxn id="48" idx="1"/>
            <a:endCxn id="5" idx="3"/>
          </p:cNvCxnSpPr>
          <p:nvPr/>
        </p:nvCxnSpPr>
        <p:spPr>
          <a:xfrm rot="10800000" flipV="1">
            <a:off x="2657353" y="262157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992793" y="258737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1" name="テキスト ボックス 50"/>
          <p:cNvSpPr txBox="1"/>
          <p:nvPr/>
        </p:nvSpPr>
        <p:spPr>
          <a:xfrm rot="5400000">
            <a:off x="3876060" y="3280090"/>
            <a:ext cx="1444250" cy="461665"/>
          </a:xfrm>
          <a:prstGeom prst="rect">
            <a:avLst/>
          </a:prstGeom>
          <a:noFill/>
        </p:spPr>
        <p:txBody>
          <a:bodyPr wrap="square" rtlCol="0">
            <a:spAutoFit/>
          </a:bodyPr>
          <a:lstStyle/>
          <a:p>
            <a:pPr algn="ctr"/>
            <a:r>
              <a:rPr kumimoji="1" lang="ja-JP" altLang="en-US" sz="1200">
                <a:solidFill>
                  <a:srgbClr val="FF0000"/>
                </a:solidFill>
              </a:rPr>
              <a:t>ファイル編集</a:t>
            </a:r>
            <a:endParaRPr kumimoji="1" lang="en-US" altLang="ja-JP" sz="1200">
              <a:solidFill>
                <a:srgbClr val="FF0000"/>
              </a:solidFill>
            </a:endParaRPr>
          </a:p>
          <a:p>
            <a:pPr algn="ctr"/>
            <a:r>
              <a:rPr kumimoji="1" lang="ja-JP" altLang="en-US" sz="1200">
                <a:solidFill>
                  <a:srgbClr val="FF0000"/>
                </a:solidFill>
              </a:rPr>
              <a:t>リクエスト　①</a:t>
            </a:r>
          </a:p>
        </p:txBody>
      </p:sp>
      <p:pic>
        <p:nvPicPr>
          <p:cNvPr id="58" name="図 57" descr="グラフィカル ユーザー インターフェイス, アプリケーション, テーブル, Excel"/>
          <p:cNvPicPr>
            <a:picLocks noChangeAspect="1"/>
          </p:cNvPicPr>
          <p:nvPr/>
        </p:nvPicPr>
        <p:blipFill>
          <a:blip r:embed="rId4"/>
          <a:stretch>
            <a:fillRect/>
          </a:stretch>
        </p:blipFill>
        <p:spPr>
          <a:xfrm>
            <a:off x="6121228" y="4160923"/>
            <a:ext cx="2086032" cy="1030032"/>
          </a:xfrm>
          <a:prstGeom prst="rect">
            <a:avLst/>
          </a:prstGeom>
        </p:spPr>
      </p:pic>
      <p:sp>
        <p:nvSpPr>
          <p:cNvPr id="66" name="テキスト ボックス 65"/>
          <p:cNvSpPr txBox="1"/>
          <p:nvPr/>
        </p:nvSpPr>
        <p:spPr>
          <a:xfrm>
            <a:off x="6419489" y="2947983"/>
            <a:ext cx="1444250" cy="461665"/>
          </a:xfrm>
          <a:prstGeom prst="rect">
            <a:avLst/>
          </a:prstGeom>
          <a:noFill/>
        </p:spPr>
        <p:txBody>
          <a:bodyPr wrap="square" rtlCol="0">
            <a:spAutoFit/>
          </a:bodyPr>
          <a:lstStyle/>
          <a:p>
            <a:pPr algn="ctr"/>
            <a:r>
              <a:rPr lang="ja-JP" altLang="en-US" sz="1200">
                <a:solidFill>
                  <a:srgbClr val="FF0000"/>
                </a:solidFill>
              </a:rPr>
              <a:t>ファイル編集②、自動更新される</a:t>
            </a:r>
            <a:endParaRPr kumimoji="1" lang="ja-JP" altLang="en-US" sz="1200">
              <a:solidFill>
                <a:srgbClr val="FF0000"/>
              </a:solidFill>
            </a:endParaRPr>
          </a:p>
        </p:txBody>
      </p:sp>
      <p:sp>
        <p:nvSpPr>
          <p:cNvPr id="108" name="ひし形 107"/>
          <p:cNvSpPr/>
          <p:nvPr/>
        </p:nvSpPr>
        <p:spPr>
          <a:xfrm>
            <a:off x="2613182" y="46548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10" name="ひし形 109"/>
          <p:cNvSpPr/>
          <p:nvPr/>
        </p:nvSpPr>
        <p:spPr>
          <a:xfrm>
            <a:off x="5992793" y="279550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20" name="ひし形 119"/>
          <p:cNvSpPr/>
          <p:nvPr/>
        </p:nvSpPr>
        <p:spPr>
          <a:xfrm>
            <a:off x="2613182" y="48072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3" name="テキスト ボックス 2"/>
          <p:cNvSpPr txBox="1"/>
          <p:nvPr/>
        </p:nvSpPr>
        <p:spPr>
          <a:xfrm>
            <a:off x="4796773" y="4613092"/>
            <a:ext cx="1473268" cy="307777"/>
          </a:xfrm>
          <a:prstGeom prst="rect">
            <a:avLst/>
          </a:prstGeom>
          <a:noFill/>
        </p:spPr>
        <p:txBody>
          <a:bodyPr wrap="square" rtlCol="0">
            <a:spAutoFit/>
          </a:bodyPr>
          <a:lstStyle/>
          <a:p>
            <a:pPr algn="ctr"/>
            <a:r>
              <a:rPr kumimoji="1" lang="en-US" altLang="ja-JP" sz="1400"/>
              <a:t>Office 365 App</a:t>
            </a:r>
            <a:endParaRPr kumimoji="1" lang="ja-JP" altLang="en-US" sz="140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a:t>平行編集：</a:t>
            </a:r>
          </a:p>
          <a:p>
            <a:r>
              <a:rPr lang="ja-JP" altLang="en-US" sz="1100"/>
              <a:t>１．同じユーザは複数回同じ文書を開く場合、（連打）　　ー　App設計・実装に考慮要</a:t>
            </a:r>
          </a:p>
          <a:p>
            <a:r>
              <a:rPr lang="ja-JP" altLang="en-US" sz="1100"/>
              <a:t>２．異なるユーザは同じ文書を同時に編集すること　　ー　当面不要だと聞いたが、必要としたら、実現できる。</a:t>
            </a:r>
          </a:p>
          <a:p>
            <a:r>
              <a:rPr lang="ja-JP" altLang="en-US" sz="1100"/>
              <a:t>３．Power AutomationのFlowの異常処理 </a:t>
            </a:r>
            <a:r>
              <a:rPr lang="en-US" altLang="ja-JP" sz="1100"/>
              <a:t>(</a:t>
            </a:r>
            <a:r>
              <a:rPr lang="ja-JP" altLang="en-US" sz="1100"/>
              <a:t>利用者の本人に送信したい</a:t>
            </a:r>
            <a:r>
              <a:rPr lang="en-US" altLang="ja-JP" sz="1100"/>
              <a:t>)</a:t>
            </a:r>
          </a:p>
          <a:p>
            <a:r>
              <a:rPr lang="ja-JP" altLang="en-US" sz="1100"/>
              <a:t>４．ファイルの自動保存（</a:t>
            </a:r>
            <a:r>
              <a:rPr lang="en-US" altLang="ja-JP" sz="1100" err="1"/>
              <a:t>LocalApp</a:t>
            </a:r>
            <a:r>
              <a:rPr lang="ja-JP" altLang="en-US" sz="1100"/>
              <a:t>で開いた場合）の設定</a:t>
            </a:r>
            <a:r>
              <a:rPr lang="en-US" altLang="ja-JP" sz="1100"/>
              <a:t>Manual</a:t>
            </a:r>
            <a:r>
              <a:rPr lang="ja-JP" altLang="en-US" sz="110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5"/>
          <a:stretch>
            <a:fillRect/>
          </a:stretch>
        </p:blipFill>
        <p:spPr>
          <a:xfrm>
            <a:off x="3485911" y="2968675"/>
            <a:ext cx="911875" cy="786151"/>
          </a:xfrm>
          <a:prstGeom prst="rect">
            <a:avLst/>
          </a:prstGeom>
        </p:spPr>
      </p:pic>
      <p:pic>
        <p:nvPicPr>
          <p:cNvPr id="4" name="図 3" descr="ロゴ, アイコン&#10;&#10;AI によって生成されたコンテンツは間違っている可能性があります。"/>
          <p:cNvPicPr>
            <a:picLocks noChangeAspect="1"/>
          </p:cNvPicPr>
          <p:nvPr/>
        </p:nvPicPr>
        <p:blipFill>
          <a:blip r:embed="rId6"/>
          <a:stretch>
            <a:fillRect/>
          </a:stretch>
        </p:blipFill>
        <p:spPr>
          <a:xfrm>
            <a:off x="6546357" y="1605487"/>
            <a:ext cx="1235775" cy="1207970"/>
          </a:xfrm>
          <a:prstGeom prst="rect">
            <a:avLst/>
          </a:prstGeom>
        </p:spPr>
      </p:pic>
      <p:pic>
        <p:nvPicPr>
          <p:cNvPr id="9" name="図 8" descr="テーブル, カップ が含まれている画像&#10;&#10;AI によって生成されたコンテンツは間違っている可能性があります。"/>
          <p:cNvPicPr>
            <a:picLocks noChangeAspect="1"/>
          </p:cNvPicPr>
          <p:nvPr/>
        </p:nvPicPr>
        <p:blipFill>
          <a:blip r:embed="rId7"/>
          <a:stretch>
            <a:fillRect/>
          </a:stretch>
        </p:blipFill>
        <p:spPr>
          <a:xfrm>
            <a:off x="5966234" y="1655560"/>
            <a:ext cx="687029" cy="553912"/>
          </a:xfrm>
          <a:prstGeom prst="rect">
            <a:avLst/>
          </a:prstGeom>
        </p:spPr>
      </p:pic>
      <p:cxnSp>
        <p:nvCxnSpPr>
          <p:cNvPr id="7" name="コネクタ: カギ線 6"/>
          <p:cNvCxnSpPr>
            <a:stCxn id="4" idx="2"/>
            <a:endCxn id="58" idx="0"/>
          </p:cNvCxnSpPr>
          <p:nvPr/>
        </p:nvCxnSpPr>
        <p:spPr>
          <a:xfrm rot="5400000">
            <a:off x="6490512" y="3487190"/>
            <a:ext cx="1347466" cy="1"/>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p:cNvSpPr txBox="1"/>
          <p:nvPr/>
        </p:nvSpPr>
        <p:spPr>
          <a:xfrm>
            <a:off x="6376999" y="3464905"/>
            <a:ext cx="1444250" cy="900246"/>
          </a:xfrm>
          <a:prstGeom prst="rect">
            <a:avLst/>
          </a:prstGeom>
          <a:noFill/>
        </p:spPr>
        <p:txBody>
          <a:bodyPr wrap="square" rtlCol="0">
            <a:spAutoFit/>
          </a:bodyPr>
          <a:lstStyle/>
          <a:p>
            <a:pPr algn="ctr"/>
            <a:r>
              <a:rPr lang="ja-JP" altLang="en-US" sz="1050">
                <a:solidFill>
                  <a:srgbClr val="FF0000"/>
                </a:solidFill>
              </a:rPr>
              <a:t>更新</a:t>
            </a:r>
            <a:r>
              <a:rPr lang="en-US" altLang="ja-JP" sz="1050">
                <a:solidFill>
                  <a:srgbClr val="FF0000"/>
                </a:solidFill>
              </a:rPr>
              <a:t>Trigger</a:t>
            </a:r>
            <a:r>
              <a:rPr lang="ja-JP" altLang="en-US" sz="1050">
                <a:solidFill>
                  <a:srgbClr val="FF0000"/>
                </a:solidFill>
              </a:rPr>
              <a:t>は不要、排他処理なども不要（</a:t>
            </a:r>
            <a:r>
              <a:rPr lang="en-US" altLang="ja-JP" sz="1050">
                <a:solidFill>
                  <a:srgbClr val="FF0000"/>
                </a:solidFill>
              </a:rPr>
              <a:t>SharePoint</a:t>
            </a:r>
            <a:r>
              <a:rPr lang="ja-JP" altLang="en-US" sz="1050">
                <a:solidFill>
                  <a:srgbClr val="FF0000"/>
                </a:solidFill>
              </a:rPr>
              <a:t>は自動的に処理してくれる）</a:t>
            </a:r>
            <a:endParaRPr kumimoji="1" lang="ja-JP" altLang="en-US" sz="1050">
              <a:solidFill>
                <a:srgbClr val="FF0000"/>
              </a:solidFill>
            </a:endParaRPr>
          </a:p>
        </p:txBody>
      </p:sp>
      <p:sp>
        <p:nvSpPr>
          <p:cNvPr id="19" name="テキスト ボックス 18"/>
          <p:cNvSpPr txBox="1"/>
          <p:nvPr/>
        </p:nvSpPr>
        <p:spPr>
          <a:xfrm>
            <a:off x="5684654" y="137722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a:t>定型データ</a:t>
            </a:r>
            <a:endParaRPr kumimoji="1" lang="en-US" altLang="ja-JP" sz="1050"/>
          </a:p>
          <a:p>
            <a:pPr algn="ctr"/>
            <a:r>
              <a:rPr kumimoji="1" lang="ja-JP" altLang="en-US" sz="1050"/>
              <a:t>保存場所</a:t>
            </a:r>
          </a:p>
        </p:txBody>
      </p:sp>
      <p:sp>
        <p:nvSpPr>
          <p:cNvPr id="21" name="テキスト ボックス 20"/>
          <p:cNvSpPr txBox="1"/>
          <p:nvPr/>
        </p:nvSpPr>
        <p:spPr>
          <a:xfrm>
            <a:off x="7418490" y="1709624"/>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a:t>添付ファイル</a:t>
            </a:r>
            <a:endParaRPr kumimoji="1" lang="en-US" altLang="ja-JP" sz="1050"/>
          </a:p>
          <a:p>
            <a:pPr algn="ctr"/>
            <a:r>
              <a:rPr kumimoji="1" lang="ja-JP" altLang="en-US" sz="1050"/>
              <a:t>保存場所</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a:t>以前の内容</a:t>
            </a:r>
          </a:p>
        </p:txBody>
      </p:sp>
      <p:sp>
        <p:nvSpPr>
          <p:cNvPr id="5" name="テキスト プレースホルダー 4"/>
          <p:cNvSpPr>
            <a:spLocks noGrp="1"/>
          </p:cNvSpPr>
          <p:nvPr>
            <p:ph type="body" sz="quarter" idx="11"/>
          </p:nvPr>
        </p:nvSpPr>
        <p:spPr/>
        <p:txBody>
          <a:bodyPr/>
          <a:lstStyle/>
          <a:p>
            <a:endParaRPr lang="ja-JP" altLang="en-US"/>
          </a:p>
        </p:txBody>
      </p:sp>
      <p:sp>
        <p:nvSpPr>
          <p:cNvPr id="6" name="テキスト プレースホルダー 5"/>
          <p:cNvSpPr>
            <a:spLocks noGrp="1"/>
          </p:cNvSpPr>
          <p:nvPr>
            <p:ph type="body" sz="quarter" idx="17"/>
          </p:nvPr>
        </p:nvSpPr>
        <p:spPr/>
        <p:txBody>
          <a:bodyPr/>
          <a:lstStyle/>
          <a:p>
            <a:endParaRPr lang="ja-JP" alt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16C17B-9ACF-4273-9EF4-F7A543FAF213}">
  <ds:schemaRefs/>
</ds:datastoreItem>
</file>

<file path=customXml/itemProps2.xml><?xml version="1.0" encoding="utf-8"?>
<ds:datastoreItem xmlns:ds="http://schemas.openxmlformats.org/officeDocument/2006/customXml" ds:itemID="{BCB922EE-95E3-497F-8326-C2ABF66A4B77}">
  <ds:schemaRefs/>
</ds:datastoreItem>
</file>

<file path=customXml/itemProps3.xml><?xml version="1.0" encoding="utf-8"?>
<ds:datastoreItem xmlns:ds="http://schemas.openxmlformats.org/officeDocument/2006/customXml" ds:itemID="{E31EB569-1790-46AF-B846-C3C8AF03910D}">
  <ds:schemaRefs>
    <ds:schemaRef ds:uri="http://purl.org/dc/elements/1.1/"/>
    <ds:schemaRef ds:uri="http://schemas.microsoft.com/office/2006/metadata/properties"/>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259acf4b-b80a-47bc-9c5c-11234d21311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CG_jp_rev1</Template>
  <TotalTime>13</TotalTime>
  <Words>3897</Words>
  <Application>Microsoft Office PowerPoint</Application>
  <PresentationFormat>ワイド画面</PresentationFormat>
  <Paragraphs>530</Paragraphs>
  <Slides>16</Slides>
  <Notes>8</Notes>
  <HiddenSlides>0</HiddenSlides>
  <MMClips>0</MMClips>
  <ScaleCrop>false</ScaleCrop>
  <HeadingPairs>
    <vt:vector size="8" baseType="variant">
      <vt:variant>
        <vt:lpstr>使用されているフォント</vt:lpstr>
      </vt:variant>
      <vt:variant>
        <vt:i4>9</vt:i4>
      </vt:variant>
      <vt:variant>
        <vt:lpstr>テーマ</vt:lpstr>
      </vt:variant>
      <vt:variant>
        <vt:i4>6</vt:i4>
      </vt:variant>
      <vt:variant>
        <vt:lpstr>埋め込まれた OLE サーバー</vt:lpstr>
      </vt:variant>
      <vt:variant>
        <vt:i4>1</vt:i4>
      </vt:variant>
      <vt:variant>
        <vt:lpstr>スライド タイトル</vt:lpstr>
      </vt:variant>
      <vt:variant>
        <vt:i4>16</vt:i4>
      </vt:variant>
    </vt:vector>
  </HeadingPairs>
  <TitlesOfParts>
    <vt:vector size="32" baseType="lpstr">
      <vt:lpstr>Yu Gothic UI</vt:lpstr>
      <vt:lpstr>Yu Gothic</vt:lpstr>
      <vt:lpstr>Yu Gothic</vt:lpstr>
      <vt:lpstr>Arial</vt:lpstr>
      <vt:lpstr>Calibri</vt:lpstr>
      <vt:lpstr>Calibri Light</vt:lpstr>
      <vt:lpstr>Gill Sans MT</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以下は不要</vt:lpstr>
      <vt:lpstr>PowerPoint プレゼンテーション</vt:lpstr>
      <vt:lpstr>実装計画－リソース、体制</vt:lpstr>
      <vt:lpstr>実装計画－ガバナンス、コミュニケーションプラン</vt:lpstr>
      <vt:lpstr>以降は作業エリア</vt:lpstr>
      <vt:lpstr>補足資料</vt:lpstr>
      <vt:lpstr>提案（FileをDataverse にStoreage案）</vt:lpstr>
      <vt:lpstr>提案（FileをSPOに保存）</vt:lpstr>
      <vt:lpstr>以前の内容</vt:lpstr>
      <vt:lpstr>提案（FileをDataverse にStoreage案）</vt:lpstr>
      <vt:lpstr>評価結果</vt:lpstr>
      <vt:lpstr>評価結果</vt:lpstr>
      <vt:lpstr>他機能と運用要件</vt:lpstr>
      <vt:lpstr>【ソリューション選定】選定フローと結果</vt:lpstr>
      <vt:lpstr>【ソリューション選定】評価結果の共有</vt:lpstr>
      <vt:lpstr>【ソリューション選定】今後の流れ</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2</cp:revision>
  <dcterms:created xsi:type="dcterms:W3CDTF">2023-05-25T05:41:00Z</dcterms:created>
  <dcterms:modified xsi:type="dcterms:W3CDTF">2025-09-18T15:0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